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8"/>
  </p:notesMasterIdLst>
  <p:sldIdLst>
    <p:sldId id="717" r:id="rId2"/>
    <p:sldId id="718" r:id="rId3"/>
    <p:sldId id="719" r:id="rId4"/>
    <p:sldId id="734" r:id="rId5"/>
    <p:sldId id="722" r:id="rId6"/>
    <p:sldId id="723" r:id="rId7"/>
    <p:sldId id="725" r:id="rId8"/>
    <p:sldId id="724" r:id="rId9"/>
    <p:sldId id="726" r:id="rId10"/>
    <p:sldId id="727" r:id="rId11"/>
    <p:sldId id="728" r:id="rId12"/>
    <p:sldId id="729" r:id="rId13"/>
    <p:sldId id="730" r:id="rId14"/>
    <p:sldId id="731" r:id="rId15"/>
    <p:sldId id="732" r:id="rId16"/>
    <p:sldId id="733" r:id="rId1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5" autoAdjust="0"/>
    <p:restoredTop sz="94660"/>
  </p:normalViewPr>
  <p:slideViewPr>
    <p:cSldViewPr snapToGrid="0">
      <p:cViewPr varScale="1">
        <p:scale>
          <a:sx n="96" d="100"/>
          <a:sy n="96" d="100"/>
        </p:scale>
        <p:origin x="117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720D09-7412-4FEE-AD54-16CC072845E5}" type="datetimeFigureOut">
              <a:rPr lang="ru-RU" smtClean="0"/>
              <a:t>21.07.202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5C9C66-B505-4DD3-9C48-5E7BD3EB84D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14215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691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0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693BB4-1E5E-FF48-9377-F1E3729B2D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637116"/>
            <a:ext cx="8157519" cy="131048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8FB81AB-280F-EB4F-B83C-23443197412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4226719"/>
            <a:ext cx="5897880" cy="21113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Текс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6" name="Рисунок 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352105E5-68EB-6B40-B8C5-F44D6EC93B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897" t="13332" r="10517" b="13164"/>
          <a:stretch/>
        </p:blipFill>
        <p:spPr>
          <a:xfrm>
            <a:off x="838200" y="419482"/>
            <a:ext cx="2655293" cy="113034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6BFB985-2DA8-F843-81BC-8DCB591736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0000"/>
          </a:blip>
          <a:srcRect r="50000"/>
          <a:stretch/>
        </p:blipFill>
        <p:spPr>
          <a:xfrm>
            <a:off x="8056428" y="-723469"/>
            <a:ext cx="4135572" cy="8271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1006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 with Captio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842E67-35F4-4EC2-B5B4-6D02111EDA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34963" y="373297"/>
            <a:ext cx="3564000" cy="5935428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553049D-F1F2-4E3C-B0A3-D2BCB35B18A8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025075" y="373296"/>
            <a:ext cx="3564000" cy="5935428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8C645043-BE6A-4D32-ACA9-AB593DA6BC9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027231" y="1968500"/>
            <a:ext cx="3577934" cy="434022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Clr>
                <a:schemeClr val="accent2"/>
              </a:buClr>
              <a:buNone/>
              <a:defRPr lang="ru-RU" sz="16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06000" indent="-306000">
              <a:buClr>
                <a:schemeClr val="accent2"/>
              </a:buClr>
              <a:defRPr sz="1600">
                <a:solidFill>
                  <a:srgbClr val="000000"/>
                </a:solidFill>
              </a:defRPr>
            </a:lvl2pPr>
            <a:lvl3pPr marL="306000" indent="-306000">
              <a:defRPr/>
            </a:lvl3pPr>
            <a:lvl4pPr marL="306000" indent="-306000">
              <a:defRPr/>
            </a:lvl4pPr>
            <a:lvl5pPr marL="306000" indent="-306000">
              <a:defRPr/>
            </a:lvl5pPr>
          </a:lstStyle>
          <a:p>
            <a:pPr marL="216000" lvl="0" indent="-21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" panose="05000000000000000000" pitchFamily="2" charset="2"/>
              <a:buChar char="§"/>
            </a:pPr>
            <a:r>
              <a:rPr lang="en-US" noProof="0" dirty="0"/>
              <a:t>Click to edit Master text styles</a:t>
            </a:r>
          </a:p>
          <a:p>
            <a:pPr marL="216000" lvl="1" indent="-21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" panose="05000000000000000000" pitchFamily="2" charset="2"/>
              <a:buChar char="§"/>
            </a:pPr>
            <a:r>
              <a:rPr lang="en-US" noProof="0" dirty="0"/>
              <a:t>Second level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F774681-C06F-2C48-8E32-6252C186CECB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9FA77C-3D43-66A9-F0F2-A4FF3D5D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2475" y="368300"/>
            <a:ext cx="3484563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18463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>
            <a:extLst>
              <a:ext uri="{FF2B5EF4-FFF2-40B4-BE49-F238E27FC236}">
                <a16:creationId xmlns:a16="http://schemas.microsoft.com/office/drawing/2014/main" id="{C1CAB38D-E4EB-4C0C-8CAA-D9F7955A8669}"/>
              </a:ext>
            </a:extLst>
          </p:cNvPr>
          <p:cNvSpPr/>
          <p:nvPr userDrawn="1"/>
        </p:nvSpPr>
        <p:spPr>
          <a:xfrm>
            <a:off x="4064142" y="0"/>
            <a:ext cx="4063971" cy="6857615"/>
          </a:xfrm>
          <a:custGeom>
            <a:avLst/>
            <a:gdLst/>
            <a:ahLst/>
            <a:cxnLst/>
            <a:rect l="l" t="t" r="r" b="b"/>
            <a:pathLst>
              <a:path w="6701790" h="11308715">
                <a:moveTo>
                  <a:pt x="0" y="11308556"/>
                </a:moveTo>
                <a:lnTo>
                  <a:pt x="6701366" y="11308556"/>
                </a:lnTo>
                <a:lnTo>
                  <a:pt x="6701366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800">
              <a:solidFill>
                <a:prstClr val="black"/>
              </a:solidFill>
            </a:endParaRP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F11446DA-9BC2-4E46-BE50-0A8D000B48A0}"/>
              </a:ext>
            </a:extLst>
          </p:cNvPr>
          <p:cNvSpPr/>
          <p:nvPr userDrawn="1"/>
        </p:nvSpPr>
        <p:spPr>
          <a:xfrm>
            <a:off x="428" y="0"/>
            <a:ext cx="4063971" cy="6857615"/>
          </a:xfrm>
          <a:custGeom>
            <a:avLst/>
            <a:gdLst/>
            <a:ahLst/>
            <a:cxnLst/>
            <a:rect l="l" t="t" r="r" b="b"/>
            <a:pathLst>
              <a:path w="6701790" h="11308715">
                <a:moveTo>
                  <a:pt x="0" y="11308556"/>
                </a:moveTo>
                <a:lnTo>
                  <a:pt x="6701366" y="11308556"/>
                </a:lnTo>
                <a:lnTo>
                  <a:pt x="6701366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C6B54D-D1EC-4534-9EEA-C90122E2ED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1973967"/>
            <a:ext cx="3348037" cy="1325563"/>
          </a:xfrm>
        </p:spPr>
        <p:txBody>
          <a:bodyPr>
            <a:noAutofit/>
          </a:bodyPr>
          <a:lstStyle>
            <a:lvl1pPr>
              <a:defRPr lang="ru-RU" sz="2200" kern="1200" dirty="0">
                <a:solidFill>
                  <a:schemeClr val="tx1"/>
                </a:solidFill>
                <a:latin typeface="+mj-lt"/>
                <a:ea typeface="+mn-ea"/>
                <a:cs typeface="Bebas Neue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F04D48FC-2CFC-4249-B534-9759CAE99D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05351" y="342901"/>
            <a:ext cx="3092162" cy="1348488"/>
          </a:xfrm>
        </p:spPr>
        <p:txBody>
          <a:bodyPr>
            <a:noAutofit/>
          </a:bodyPr>
          <a:lstStyle>
            <a:lvl1pPr marL="0" indent="0">
              <a:lnSpc>
                <a:spcPts val="2800"/>
              </a:lnSpc>
              <a:buNone/>
              <a:defRPr lang="en-US" sz="2200" b="1" kern="1200" dirty="0" smtClean="0">
                <a:solidFill>
                  <a:srgbClr val="FFFFFF"/>
                </a:solidFill>
                <a:latin typeface="+mj-lt"/>
                <a:ea typeface="+mn-ea"/>
                <a:cs typeface="Bebas Neue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FD0E582-8CAA-482A-88EC-3E3E6FAE4C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10111" y="1973968"/>
            <a:ext cx="3287402" cy="3531390"/>
          </a:xfrm>
        </p:spPr>
        <p:txBody>
          <a:bodyPr>
            <a:noAutofit/>
          </a:bodyPr>
          <a:lstStyle>
            <a:lvl1pPr marL="7701" algn="l" defTabSz="554492" rtl="0" eaLnBrk="1" latinLnBrk="0" hangingPunct="1">
              <a:lnSpc>
                <a:spcPts val="1400"/>
              </a:lnSpc>
              <a:defRPr lang="en-US" sz="14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1pPr>
            <a:lvl2pPr marL="0" indent="0" algn="l" defTabSz="554492" rtl="0" eaLnBrk="1" latinLnBrk="0" hangingPunct="1">
              <a:lnSpc>
                <a:spcPct val="117300"/>
              </a:lnSpc>
              <a:buNone/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2pPr>
            <a:lvl3pPr marL="7701" algn="l" defTabSz="554492" rtl="0" eaLnBrk="1" latinLnBrk="0" hangingPunct="1">
              <a:lnSpc>
                <a:spcPct val="117300"/>
              </a:lnSpc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3pPr>
            <a:lvl4pPr marL="7701" algn="l" defTabSz="554492" rtl="0" eaLnBrk="1" latinLnBrk="0" hangingPunct="1">
              <a:lnSpc>
                <a:spcPct val="117300"/>
              </a:lnSpc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4pPr>
            <a:lvl5pPr marL="7701" algn="l" defTabSz="554492" rtl="0" eaLnBrk="1" latinLnBrk="0" hangingPunct="1">
              <a:lnSpc>
                <a:spcPct val="117300"/>
              </a:lnSpc>
              <a:defRPr lang="ru-RU" sz="1000" kern="1200" spc="-15" dirty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Text Placeholder 44">
            <a:extLst>
              <a:ext uri="{FF2B5EF4-FFF2-40B4-BE49-F238E27FC236}">
                <a16:creationId xmlns:a16="http://schemas.microsoft.com/office/drawing/2014/main" id="{CCC81417-F26A-4630-819B-3F816581B8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01100" y="342901"/>
            <a:ext cx="2803524" cy="1348488"/>
          </a:xfrm>
        </p:spPr>
        <p:txBody>
          <a:bodyPr>
            <a:noAutofit/>
          </a:bodyPr>
          <a:lstStyle>
            <a:lvl1pPr marL="0" indent="0">
              <a:lnSpc>
                <a:spcPts val="2800"/>
              </a:lnSpc>
              <a:buNone/>
              <a:defRPr lang="en-US" sz="2200" b="1" kern="1200" dirty="0" smtClean="0">
                <a:solidFill>
                  <a:schemeClr val="bg1"/>
                </a:solidFill>
                <a:latin typeface="+mj-lt"/>
                <a:ea typeface="+mn-ea"/>
                <a:cs typeface="Bebas Neue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7F727A06-F216-44DB-A654-D82D314BADA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72831" y="1973968"/>
            <a:ext cx="3031794" cy="3531390"/>
          </a:xfrm>
        </p:spPr>
        <p:txBody>
          <a:bodyPr>
            <a:noAutofit/>
          </a:bodyPr>
          <a:lstStyle>
            <a:lvl1pPr marL="7701" algn="l" defTabSz="554492" rtl="0" eaLnBrk="1" latinLnBrk="0" hangingPunct="1">
              <a:lnSpc>
                <a:spcPts val="1400"/>
              </a:lnSpc>
              <a:defRPr lang="en-US" sz="1400" kern="1200" spc="-15" dirty="0" smtClean="0">
                <a:solidFill>
                  <a:srgbClr val="000000"/>
                </a:solidFill>
                <a:latin typeface="+mn-lt"/>
                <a:ea typeface="+mn-ea"/>
                <a:cs typeface="Source Sans Pro"/>
              </a:defRPr>
            </a:lvl1pPr>
            <a:lvl2pPr marL="0" indent="0" algn="l" defTabSz="554492" rtl="0" eaLnBrk="1" latinLnBrk="0" hangingPunct="1">
              <a:lnSpc>
                <a:spcPct val="117300"/>
              </a:lnSpc>
              <a:buNone/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2pPr>
            <a:lvl3pPr marL="7701" algn="l" defTabSz="554492" rtl="0" eaLnBrk="1" latinLnBrk="0" hangingPunct="1">
              <a:lnSpc>
                <a:spcPct val="117300"/>
              </a:lnSpc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3pPr>
            <a:lvl4pPr marL="7701" algn="l" defTabSz="554492" rtl="0" eaLnBrk="1" latinLnBrk="0" hangingPunct="1">
              <a:lnSpc>
                <a:spcPct val="117300"/>
              </a:lnSpc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4pPr>
            <a:lvl5pPr marL="7701" algn="l" defTabSz="554492" rtl="0" eaLnBrk="1" latinLnBrk="0" hangingPunct="1">
              <a:lnSpc>
                <a:spcPct val="117300"/>
              </a:lnSpc>
              <a:defRPr lang="ru-RU" sz="1000" kern="1200" spc="-15" dirty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69BCF0FD-60CC-1FD0-660E-1ABFC65DAEC3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77560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7A32B497-FBB2-E918-751E-59E3D31F0511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5070E826-18A4-401E-4B2A-A06795AA14B6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747785" y="2037042"/>
            <a:ext cx="2465568" cy="2037472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25173374-69BA-5AF8-0779-E9C3DB70EF6E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3493192" y="2037042"/>
            <a:ext cx="2465568" cy="2037472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0EC21AA2-FD6C-EB71-DA1E-88C5AB56738F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6232471" y="2037042"/>
            <a:ext cx="2465568" cy="2037472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E354B30F-A821-451D-7728-9A4915AB6B8F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8978611" y="2037042"/>
            <a:ext cx="2465568" cy="2037472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2548203E-BB18-B96B-CE61-60747C586E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45" y="1261193"/>
            <a:ext cx="11271280" cy="501320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buNone/>
              <a:defRPr lang="en-US" sz="1800" kern="1200" spc="-6" dirty="0" smtClean="0">
                <a:solidFill>
                  <a:schemeClr val="bg1"/>
                </a:solidFill>
                <a:latin typeface="+mn-lt"/>
                <a:ea typeface="+mn-ea"/>
                <a:cs typeface="Source Sans Pro"/>
              </a:defRPr>
            </a:lvl1pPr>
            <a:lvl2pPr marL="4572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2pPr>
            <a:lvl3pPr marL="9144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3pPr>
            <a:lvl4pPr marL="13716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4pPr>
            <a:lvl5pPr marL="1828800" indent="0">
              <a:buNone/>
              <a:defRPr lang="ru-RU" sz="1243" kern="1200" spc="-6" dirty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3">
            <a:extLst>
              <a:ext uri="{FF2B5EF4-FFF2-40B4-BE49-F238E27FC236}">
                <a16:creationId xmlns:a16="http://schemas.microsoft.com/office/drawing/2014/main" id="{42257BC7-73A7-E1EC-0C2A-BF71EA2558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1488" y="4084862"/>
            <a:ext cx="2455887" cy="622079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5DB469BB-3B6A-8805-8470-A768B133B16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98437" y="4084862"/>
            <a:ext cx="2462748" cy="622079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66C79A64-6F60-E96D-D786-B34351A14E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30816" y="4084862"/>
            <a:ext cx="2461827" cy="622079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704FECD4-9156-A078-33BF-3291741875D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83856" y="4084862"/>
            <a:ext cx="2465568" cy="622079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9DA48E8-125F-0C68-7831-DCBC747C3F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6244" y="4740966"/>
            <a:ext cx="2461827" cy="32567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0CE6B98-E907-270C-79F6-3EC777D349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96934" y="4740966"/>
            <a:ext cx="2461827" cy="32567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7B9EC661-5E6F-2F6F-D977-2BB3D557177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30854" y="4740966"/>
            <a:ext cx="2461827" cy="32567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D3F51FF8-9C76-7C4F-A10B-EA8B31DFA7E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989251" y="4740966"/>
            <a:ext cx="2461827" cy="32567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F6D990C6-2D70-9E05-DDB8-ACF2ADA4C10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40923" y="5066643"/>
            <a:ext cx="2463184" cy="1242082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35A689-603B-227F-4D7C-C364A4121E5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00677" y="5066643"/>
            <a:ext cx="2463184" cy="1242082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494AAAA-11E0-ED15-FD4A-EB0686D73C5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25754" y="5066643"/>
            <a:ext cx="2463184" cy="1242082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D587790-2945-807A-A877-91373A1CFAC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89251" y="5066643"/>
            <a:ext cx="2463184" cy="1242082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0BB8CBF-BB2C-5733-EA73-0353082B5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95044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9">
            <a:extLst>
              <a:ext uri="{FF2B5EF4-FFF2-40B4-BE49-F238E27FC236}">
                <a16:creationId xmlns:a16="http://schemas.microsoft.com/office/drawing/2014/main" id="{005C429C-BC3D-3644-A07A-06AE9030B21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CEEAC0F8-495C-812F-73ED-E15A9754C8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8181" y="1277336"/>
            <a:ext cx="6376944" cy="480969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6" name="Дата 3">
            <a:extLst>
              <a:ext uri="{FF2B5EF4-FFF2-40B4-BE49-F238E27FC236}">
                <a16:creationId xmlns:a16="http://schemas.microsoft.com/office/drawing/2014/main" id="{CF382B41-1AB5-8DE2-EDE0-7E89FCB1E5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5107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fld id="{7D3E9E7D-E8CB-42C5-BF48-CF1F1FD1BFC9}" type="datetime1">
              <a:rPr lang="ru-RU" smtClean="0"/>
              <a:t>21.07.2023</a:t>
            </a:fld>
            <a:endParaRPr lang="ru-RU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2CDC88D-E9A4-51A9-F657-0BB820555DD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8799" y="1993695"/>
            <a:ext cx="6156325" cy="32567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73DBB0-73A1-11CE-4BD6-2FCFB23153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8800" y="2435225"/>
            <a:ext cx="6156325" cy="3802063"/>
          </a:xfrm>
        </p:spPr>
        <p:txBody>
          <a:bodyPr>
            <a:noAutofit/>
          </a:bodyPr>
          <a:lstStyle>
            <a:lvl1pPr marL="180975" indent="-180975">
              <a:buClr>
                <a:schemeClr val="bg2"/>
              </a:buClr>
              <a:buFont typeface="+mj-lt"/>
              <a:buAutoNum type="arabicPeriod"/>
              <a:defRPr sz="1400">
                <a:solidFill>
                  <a:srgbClr val="000000"/>
                </a:solidFill>
              </a:defRPr>
            </a:lvl1pPr>
            <a:lvl2pPr marL="714375" indent="-257175">
              <a:buFont typeface="+mj-lt"/>
              <a:buAutoNum type="arabicPeriod"/>
              <a:defRPr sz="1400">
                <a:solidFill>
                  <a:schemeClr val="tx1"/>
                </a:solidFill>
              </a:defRPr>
            </a:lvl2pPr>
            <a:lvl3pPr marL="1257300" indent="-342900">
              <a:buFont typeface="+mj-lt"/>
              <a:buAutoNum type="arabicPeriod"/>
              <a:defRPr sz="1400">
                <a:solidFill>
                  <a:schemeClr val="tx1"/>
                </a:solidFill>
              </a:defRPr>
            </a:lvl3pPr>
            <a:lvl4pPr marL="1714500" indent="-342900">
              <a:buFont typeface="+mj-lt"/>
              <a:buAutoNum type="arabicPeriod"/>
              <a:defRPr sz="1400">
                <a:solidFill>
                  <a:schemeClr val="tx1"/>
                </a:solidFill>
              </a:defRPr>
            </a:lvl4pPr>
            <a:lvl5pPr marL="2171700" indent="-342900">
              <a:buFont typeface="+mj-lt"/>
              <a:buAutoNum type="arabicPeriod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ru-RU" dirty="0"/>
          </a:p>
          <a:p>
            <a:pPr lvl="0"/>
            <a:r>
              <a:rPr lang="ru-RU" dirty="0"/>
              <a:t> </a:t>
            </a:r>
            <a:endParaRPr lang="en-US" dirty="0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172BD743-D67C-1D70-7780-D083CED6C96D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923FDE-8D8A-4ED0-8360-8A2CC42F9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368300"/>
            <a:ext cx="6376944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8293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и картинк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Clr>
                <a:schemeClr val="bg2"/>
              </a:buClr>
              <a:defRPr/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445" y="1284689"/>
            <a:ext cx="6380163" cy="782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58800" y="1877954"/>
            <a:ext cx="501197" cy="7055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000" b="1" i="0" u="none" strike="noStrike" kern="1200" cap="none" spc="0" normalizeH="0" baseline="0" noProof="0" dirty="0">
                <a:ln>
                  <a:noFill/>
                </a:ln>
                <a:solidFill>
                  <a:srgbClr val="0D3074">
                    <a:alpha val="2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«</a:t>
            </a: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id="{F167E5EA-F396-A041-9ACD-AE03A72C2CDB}"/>
              </a:ext>
            </a:extLst>
          </p:cNvPr>
          <p:cNvSpPr txBox="1">
            <a:spLocks/>
          </p:cNvSpPr>
          <p:nvPr userDrawn="1"/>
        </p:nvSpPr>
        <p:spPr>
          <a:xfrm>
            <a:off x="6384633" y="4790416"/>
            <a:ext cx="501197" cy="7055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000" b="1" i="0" u="none" strike="noStrike" kern="1200" cap="none" spc="0" normalizeH="0" baseline="0" noProof="0" dirty="0">
                <a:ln>
                  <a:noFill/>
                </a:ln>
                <a:solidFill>
                  <a:srgbClr val="0D3074">
                    <a:alpha val="2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»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BEEA01-F171-34FA-7B88-18D2E56A35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1283" y="2393611"/>
            <a:ext cx="6143842" cy="264884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>
                <a:solidFill>
                  <a:srgbClr val="000000"/>
                </a:solidFill>
                <a:latin typeface="+mn-lt"/>
                <a:cs typeface="Segoe UI Semilight" panose="020B0402040204020203" pitchFamily="34" charset="0"/>
              </a:defRPr>
            </a:lvl1pPr>
            <a:lvl2pPr marL="457200" indent="0">
              <a:buFontTx/>
              <a:buNone/>
              <a:defRPr sz="20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914400" indent="0">
              <a:buFontTx/>
              <a:buNone/>
              <a:defRPr sz="20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1371600" indent="0">
              <a:buFontTx/>
              <a:buNone/>
              <a:defRPr sz="20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828800" indent="0">
              <a:buFontTx/>
              <a:buNone/>
              <a:defRPr sz="20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C972050-43A3-73E3-9070-79FBA99314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1500" y="5597526"/>
            <a:ext cx="3841750" cy="317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7608A0A-71E5-749D-8E58-710C24E0241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799" y="5915027"/>
            <a:ext cx="6156325" cy="3936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A32573B9-CDFD-73E7-F005-7E151CA44B4B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FE471A-41E5-7028-401A-02A6F7AE4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408737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2572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  <p15:guide id="6" pos="182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и картинк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1314" y="1277041"/>
            <a:ext cx="6378921" cy="480969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F462AA42-FD60-8040-831C-46FE2D7814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3865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fld id="{F4FD741D-E890-4757-89A3-92DE0EDA622E}" type="datetime1">
              <a:rPr lang="ru-RU" smtClean="0"/>
              <a:t>21.07.2023</a:t>
            </a:fld>
            <a:endParaRPr lang="ru-R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913CA2B-6CF7-B2B3-7C9A-CC5A5B9AE9C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3910" y="2432582"/>
            <a:ext cx="6149974" cy="3110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1pPr>
            <a:lvl2pPr marL="742950" indent="-285750">
              <a:buClr>
                <a:schemeClr val="tx1"/>
              </a:buClr>
              <a:buFont typeface="Courier New" panose="02070309020205020404" pitchFamily="49" charset="0"/>
              <a:buChar char="o"/>
              <a:defRPr sz="14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buClr>
                <a:schemeClr val="accent4"/>
              </a:buClr>
              <a:defRPr sz="14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 sz="14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>
              <a:defRPr sz="14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9F396F2-F658-AC19-9862-FC7E3E4EB7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1914008"/>
            <a:ext cx="5948709" cy="4000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FontTx/>
              <a:buNone/>
              <a:defRPr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Заголовок 2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981DC595-36FA-2AC3-8C37-EAF7FEEFA949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F2F6341-DE1C-8F2E-DFB4-0FFB91BCA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378921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49362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умерованный список и картинка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1279107"/>
            <a:ext cx="6415045" cy="480969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A885DB63-E653-2E4D-9AA2-CFE662BF4F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FD597-B733-4E54-9D2D-44C1E4E17AE4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21.07.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77BC8B-FA17-72EE-45C6-9A905EDAED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429" y="2157413"/>
            <a:ext cx="6148959" cy="4000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FontTx/>
              <a:buNone/>
              <a:defRPr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Заголовок 2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3892234C-46D2-F949-839E-D345CF073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7785B16-E470-AD22-EE92-F0460E9AD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408737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7322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умерованный список и картинка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1279107"/>
            <a:ext cx="6415045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110180"/>
            <a:ext cx="615632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Заголовок 2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4" y="2435856"/>
            <a:ext cx="6156326" cy="3447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DDDA4022-DC61-FD42-AA3A-C1EA9CBD8C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BF98DF-43C6-4283-A158-2B9CA7BC3648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21.07.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1AE07565-90D1-2343-ADF4-804C5C4CB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793AC2E-93C3-7536-A929-DCED57503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408737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84923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умерованный список и картинка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1279107"/>
            <a:ext cx="6415045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110180"/>
            <a:ext cx="615632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Заголовок 2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4" y="2435856"/>
            <a:ext cx="6156326" cy="3447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AAF5F732-9ED0-7546-AD85-6771D86730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84D5F2-FADB-4533-881B-F1FF021C4F2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21.07.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46246385-CE2F-7C47-813B-96A69BBBA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Летово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1FFEAF0-011E-B355-BD36-50491EF98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408737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47745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картинк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0100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3462" y="1269582"/>
            <a:ext cx="6416546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01CCF3B5-5CED-837B-AC89-12D561EB52C1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217917-9A4A-72E3-3C6F-7093786E26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415045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08504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693BB4-1E5E-FF48-9377-F1E3729B2D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637116"/>
            <a:ext cx="8157519" cy="131048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6" name="Рисунок 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352105E5-68EB-6B40-B8C5-F44D6EC93B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897" t="13332" r="10517" b="13164"/>
          <a:stretch/>
        </p:blipFill>
        <p:spPr>
          <a:xfrm>
            <a:off x="838200" y="419482"/>
            <a:ext cx="2655293" cy="113034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6BFB985-2DA8-F843-81BC-8DCB591736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0000"/>
          </a:blip>
          <a:srcRect r="50000"/>
          <a:stretch/>
        </p:blipFill>
        <p:spPr>
          <a:xfrm>
            <a:off x="8056428" y="-723469"/>
            <a:ext cx="4135572" cy="8271144"/>
          </a:xfrm>
          <a:prstGeom prst="rect">
            <a:avLst/>
          </a:prstGeom>
        </p:spPr>
      </p:pic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999D85DB-6C9B-A05D-0E9E-51A0F97123F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8200" y="4152900"/>
            <a:ext cx="7410450" cy="2155825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565569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 и текст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6743700" cy="684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67552" y="1289650"/>
            <a:ext cx="4757866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AC222974-D488-D7B5-6E84-B615FD83448F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DC5895-B808-FA63-DDBA-C617FCDB2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550" y="368300"/>
            <a:ext cx="4760913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08823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 и текст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6743700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67552" y="1279107"/>
            <a:ext cx="4757866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7067549" y="2110180"/>
            <a:ext cx="615632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Заголовок 2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7067550" y="2435856"/>
            <a:ext cx="4757868" cy="3447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U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ad minim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nia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qu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ostru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ercitati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llamc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is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ip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mmod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qu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Duis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ru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eprehender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olupta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s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illu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e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u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fugi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ull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aria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xcepte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i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ccaec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upidat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roide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unt in culpa qu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ffici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eser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ol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d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um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862329EF-BFBD-8445-80F3-573D87A43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4E16E6C-3FB1-4DA3-A95E-3EDA8BA8C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549" y="368300"/>
            <a:ext cx="4846639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15307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2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 и текст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6743700" cy="684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67552" y="1279107"/>
            <a:ext cx="4757866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6D47234D-6C73-A7DE-86AF-49EFA46621BA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778CB6-95B2-6826-75A3-06BB94FC48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550" y="368300"/>
            <a:ext cx="4789488" cy="8985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32750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 и текст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6743700" cy="684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67552" y="1279107"/>
            <a:ext cx="4757866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7067549" y="2110180"/>
            <a:ext cx="615632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Заголовок 2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7067550" y="2435856"/>
            <a:ext cx="4757868" cy="3447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U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ad minim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nia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qu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ostru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ercitati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llamc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is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ip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mmod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qu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Duis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ru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eprehender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olupta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s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illu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e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u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fugi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ull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aria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xcepte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i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ccaec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upidat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roide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unt in culpa qu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ffici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eser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ol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d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um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3FB148B0-B0B1-EE46-A91D-B8C9CDE95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925CC4-27B1-DE78-24F0-348C821A7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549" y="368300"/>
            <a:ext cx="4789489" cy="8985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6684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70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F262E62-E8FA-42DE-BC7E-BA73A13FCBF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537685" cy="6858000"/>
          </a:xfr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2939FABB-D58D-4DAF-878D-EB51A2AA620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955459" y="1657350"/>
            <a:ext cx="3649166" cy="426243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 lang="ru-RU" sz="16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06000" indent="-306000">
              <a:lnSpc>
                <a:spcPts val="1600"/>
              </a:lnSpc>
              <a:defRPr sz="1600">
                <a:solidFill>
                  <a:srgbClr val="000000"/>
                </a:solidFill>
              </a:defRPr>
            </a:lvl2pPr>
            <a:lvl3pPr marL="306000" indent="-306000">
              <a:defRPr/>
            </a:lvl3pPr>
            <a:lvl4pPr marL="306000" indent="-306000">
              <a:defRPr/>
            </a:lvl4pPr>
            <a:lvl5pPr marL="306000" indent="-306000">
              <a:defRPr/>
            </a:lvl5pPr>
          </a:lstStyle>
          <a:p>
            <a:pPr marL="216000" lvl="0" indent="-21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" panose="05000000000000000000" pitchFamily="2" charset="2"/>
              <a:buChar char="§"/>
            </a:pPr>
            <a:r>
              <a:rPr lang="en-US" noProof="0" dirty="0"/>
              <a:t>Click to edit Master text styles</a:t>
            </a:r>
          </a:p>
          <a:p>
            <a:pPr marL="216000" lvl="1" indent="-21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" panose="05000000000000000000" pitchFamily="2" charset="2"/>
              <a:buChar char="§"/>
            </a:pPr>
            <a:r>
              <a:rPr lang="en-US" noProof="0" dirty="0"/>
              <a:t>Second level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63AFD87B-B49B-3543-6008-4D3A69C8E825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35AE9F-3FC8-911D-4FE2-4317E8616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7872" y="368300"/>
            <a:ext cx="3649166" cy="8985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19643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FB0071-932D-4CA0-92FB-A6E75AC85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C8D9F5-8B70-4BDD-9CB5-BBF87CF553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0864" y="1600200"/>
            <a:ext cx="4221162" cy="426878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92363BF6-E672-2F30-CFF2-7F0E703D3E11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BF2099D-5AD1-4DE5-57E0-1F47609FE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4437063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70315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картинки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9">
            <a:extLst>
              <a:ext uri="{FF2B5EF4-FFF2-40B4-BE49-F238E27FC236}">
                <a16:creationId xmlns:a16="http://schemas.microsoft.com/office/drawing/2014/main" id="{6C78D4F5-C858-164C-B57C-9B101425847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97808" y="3543300"/>
            <a:ext cx="5092292" cy="33147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525" y="1275763"/>
            <a:ext cx="6035813" cy="7315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33147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Дата 3">
            <a:extLst>
              <a:ext uri="{FF2B5EF4-FFF2-40B4-BE49-F238E27FC236}">
                <a16:creationId xmlns:a16="http://schemas.microsoft.com/office/drawing/2014/main" id="{50C6F767-418F-0740-9207-CFADEC6934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615001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fld id="{984DF69D-FF3C-43E7-8AD8-99091D2E5311}" type="datetime1">
              <a:rPr lang="ru-RU" smtClean="0"/>
              <a:t>21.07.2023</a:t>
            </a:fld>
            <a:endParaRPr lang="ru-RU" dirty="0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06DDDA88-B47E-B30D-CB23-FF4FBE98C756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2FB929-A17F-C3E5-CD40-C060C18732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048375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88437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4021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картинк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5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525" y="1273715"/>
            <a:ext cx="6035813" cy="631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E3D2B8AF-3822-6042-8CCA-25543E6508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fld id="{3457DB75-1A30-4BF4-8A14-B1DA031F3D91}" type="datetime1">
              <a:rPr lang="ru-RU" smtClean="0"/>
              <a:t>21.07.2023</a:t>
            </a:fld>
            <a:endParaRPr lang="ru-RU" dirty="0"/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87D43FBE-D679-BDB8-CC5A-F60EEC82E91D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4FF0D77-5FA1-CA86-4BE8-9DA8542BD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035813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6769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4021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9">
            <a:extLst>
              <a:ext uri="{FF2B5EF4-FFF2-40B4-BE49-F238E27FC236}">
                <a16:creationId xmlns:a16="http://schemas.microsoft.com/office/drawing/2014/main" id="{0E25729C-8969-481B-158B-017578BDF0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3" y="1254125"/>
            <a:ext cx="3463139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4" name="Рисунок 9">
            <a:extLst>
              <a:ext uri="{FF2B5EF4-FFF2-40B4-BE49-F238E27FC236}">
                <a16:creationId xmlns:a16="http://schemas.microsoft.com/office/drawing/2014/main" id="{F1CB77E0-B3CB-B481-F077-39FC9712DBE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74184" y="1254125"/>
            <a:ext cx="3420000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5" name="Рисунок 9">
            <a:extLst>
              <a:ext uri="{FF2B5EF4-FFF2-40B4-BE49-F238E27FC236}">
                <a16:creationId xmlns:a16="http://schemas.microsoft.com/office/drawing/2014/main" id="{5792BD4C-DB2A-129B-8B31-61EF422A729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85813" y="1254125"/>
            <a:ext cx="3420000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6" name="Рисунок 9">
            <a:extLst>
              <a:ext uri="{FF2B5EF4-FFF2-40B4-BE49-F238E27FC236}">
                <a16:creationId xmlns:a16="http://schemas.microsoft.com/office/drawing/2014/main" id="{E6A6B191-C169-029C-CE87-CDA36909684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0862" y="3810000"/>
            <a:ext cx="3463139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7" name="Рисунок 9">
            <a:extLst>
              <a:ext uri="{FF2B5EF4-FFF2-40B4-BE49-F238E27FC236}">
                <a16:creationId xmlns:a16="http://schemas.microsoft.com/office/drawing/2014/main" id="{946D3CE9-3710-8C9D-C0BA-05781881D69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74184" y="3810000"/>
            <a:ext cx="3420000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8" name="Рисунок 9">
            <a:extLst>
              <a:ext uri="{FF2B5EF4-FFF2-40B4-BE49-F238E27FC236}">
                <a16:creationId xmlns:a16="http://schemas.microsoft.com/office/drawing/2014/main" id="{D8E313ED-8740-2B80-40DF-DE8F66309DA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85813" y="3810000"/>
            <a:ext cx="3420000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98FA25E-E6C9-D6D1-76FE-62A4A967C6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0863" y="3398838"/>
            <a:ext cx="3463138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DB9F54C-633B-2B80-E5D1-03D1B38FC4E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67213" y="3386811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1F5453B-5B7D-DDFC-5FEC-A2AB68D6E5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77384" y="3394074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1434FA4-09E4-F743-AC98-5BD4E7B281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66165" y="5956687"/>
            <a:ext cx="3463139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0BF332-23B3-88CD-D497-A9511560B21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82516" y="5944660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BD8F27C-CCE6-7437-95BE-95825F11C86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92687" y="5951923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id="{FEF02677-5C6D-AB74-7FB2-2E8715193D0D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995AB408-CA9D-C6D1-43CB-8D7FF296C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44162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0CA481-21E8-41D5-A4CF-22121E97B92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58685" y="1709521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2907FEEB-2992-4632-BB12-E7EB97011B6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935234" y="1685465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9371FD70-EA3F-4141-9D29-E3E11AE7A74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514792" y="1685465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60774267-4358-4902-92AD-1572F2016D2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358685" y="3935634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9ED9891F-4249-47D0-9F6C-2573026760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935234" y="3911578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7944504D-A0B5-49CA-871C-71B1A09B55C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514792" y="3911578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5BDF8F-818E-B484-6575-F9B58F8BD496}"/>
              </a:ext>
            </a:extLst>
          </p:cNvPr>
          <p:cNvGrpSpPr/>
          <p:nvPr userDrawn="1"/>
        </p:nvGrpSpPr>
        <p:grpSpPr>
          <a:xfrm>
            <a:off x="1049375" y="1736681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32700632-571A-1C55-7A43-756BF07B9017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420A68B-9D8F-FA54-2B18-381880D454FF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EDF791D4-A149-0D91-70CC-3A168187A806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F2EEE6D9-93D9-CA7F-BF90-FBE540AD42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2" name="Номер слайда 5">
            <a:extLst>
              <a:ext uri="{FF2B5EF4-FFF2-40B4-BE49-F238E27FC236}">
                <a16:creationId xmlns:a16="http://schemas.microsoft.com/office/drawing/2014/main" id="{B1D5C55B-F30D-663C-2BF5-54B1C6317AB8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FB2974F-9A03-6AC8-E16B-C9700E0EB7AB}"/>
              </a:ext>
            </a:extLst>
          </p:cNvPr>
          <p:cNvGrpSpPr/>
          <p:nvPr userDrawn="1"/>
        </p:nvGrpSpPr>
        <p:grpSpPr>
          <a:xfrm>
            <a:off x="1039129" y="3927683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1CC57DF-815D-8CA8-28AD-C308CE4B94EB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4AFED478-54D3-BFEC-5F89-951B454B8143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90193209-FB5F-6D58-48E5-03979FC472A3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2AE94D88-FEA4-58A2-0BF3-C08C72809C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211A95EA-B4C6-EEE1-9E11-89F29DE1A91B}"/>
              </a:ext>
            </a:extLst>
          </p:cNvPr>
          <p:cNvGrpSpPr/>
          <p:nvPr userDrawn="1"/>
        </p:nvGrpSpPr>
        <p:grpSpPr>
          <a:xfrm>
            <a:off x="4629422" y="1709521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60407E5B-F3DE-DBAD-BC8D-BF9BC851F570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26BBE1C-A277-EB46-E4FC-3CF5B13067C8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06AAEC7B-456D-F4B7-9BA6-51F58EB7D73E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52973E82-652B-DC1A-8690-09E70BEAE19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C8D367A-B05D-CF0F-A5EB-E37B2018C88E}"/>
              </a:ext>
            </a:extLst>
          </p:cNvPr>
          <p:cNvGrpSpPr/>
          <p:nvPr userDrawn="1"/>
        </p:nvGrpSpPr>
        <p:grpSpPr>
          <a:xfrm>
            <a:off x="8205971" y="1709521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687F1E91-1CDE-855C-88F4-8F2736358091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2C3EAE42-E0F2-9990-2A8D-F4CF2A3E77D5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EB5EE71C-409B-6709-3B66-5D30FC669BB6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CEB132A6-51FA-C949-871B-139DCE75B08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0525DAF-3EEF-A4DA-8ED1-F42B44E67BEC}"/>
              </a:ext>
            </a:extLst>
          </p:cNvPr>
          <p:cNvGrpSpPr/>
          <p:nvPr userDrawn="1"/>
        </p:nvGrpSpPr>
        <p:grpSpPr>
          <a:xfrm>
            <a:off x="8205971" y="3927549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B620B768-396D-C977-A0D6-C0AD9D0ECD8D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5D93ED6-C825-936C-A620-FE2A3815D8B5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3010DC15-BA61-6F1F-26F0-3F4D4EB880E0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A55D42B0-E6D6-8F0A-724C-86D5CC903C7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F7B213A-8FC1-F792-A067-934A71CC9E81}"/>
              </a:ext>
            </a:extLst>
          </p:cNvPr>
          <p:cNvGrpSpPr/>
          <p:nvPr userDrawn="1"/>
        </p:nvGrpSpPr>
        <p:grpSpPr>
          <a:xfrm>
            <a:off x="4629422" y="3927683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E5A7A83B-D462-2AF6-C685-9E5D90B8D0EC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7932FDB3-E9ED-D3E9-B82C-F09411DE24F2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56688783-6A7E-914F-463D-53FE1A13A749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FAEF1C6A-8BEF-57D2-BB3C-634C3FAD824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4FE5B36-3770-81D6-9931-98D9C2731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06862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7A32B497-FBB2-E918-751E-59E3D31F0511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181D15D-FFB4-B2AB-CF41-B776D6286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6826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фрами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8657" y="1260057"/>
            <a:ext cx="11272212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35" name="Дата 3">
            <a:extLst>
              <a:ext uri="{FF2B5EF4-FFF2-40B4-BE49-F238E27FC236}">
                <a16:creationId xmlns:a16="http://schemas.microsoft.com/office/drawing/2014/main" id="{66732ABA-1F26-344A-A3CD-CA95A73BAF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B6CF82-2102-485D-B480-ECB9B1E8DDF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21.07.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CE4456A0-3F08-D67C-D665-C110E59BC256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ADE54B-597D-C8C6-F8DB-F40309A56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0556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фрами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542" y="1277521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id="{5BCF4016-8BFD-8947-A4E7-3D24A7A32E6C}"/>
              </a:ext>
            </a:extLst>
          </p:cNvPr>
          <p:cNvSpPr txBox="1">
            <a:spLocks/>
          </p:cNvSpPr>
          <p:nvPr userDrawn="1"/>
        </p:nvSpPr>
        <p:spPr>
          <a:xfrm>
            <a:off x="58737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0" name="Подзаголовок 2">
            <a:extLst>
              <a:ext uri="{FF2B5EF4-FFF2-40B4-BE49-F238E27FC236}">
                <a16:creationId xmlns:a16="http://schemas.microsoft.com/office/drawing/2014/main" id="{DB2C8B15-EA6F-0E47-8769-3883A7FFE66E}"/>
              </a:ext>
            </a:extLst>
          </p:cNvPr>
          <p:cNvSpPr txBox="1">
            <a:spLocks/>
          </p:cNvSpPr>
          <p:nvPr userDrawn="1"/>
        </p:nvSpPr>
        <p:spPr>
          <a:xfrm>
            <a:off x="438213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Подзаголовок 2">
            <a:extLst>
              <a:ext uri="{FF2B5EF4-FFF2-40B4-BE49-F238E27FC236}">
                <a16:creationId xmlns:a16="http://schemas.microsoft.com/office/drawing/2014/main" id="{1729DECF-ACAF-B544-AECF-2708159B7FAA}"/>
              </a:ext>
            </a:extLst>
          </p:cNvPr>
          <p:cNvSpPr txBox="1">
            <a:spLocks/>
          </p:cNvSpPr>
          <p:nvPr userDrawn="1"/>
        </p:nvSpPr>
        <p:spPr>
          <a:xfrm>
            <a:off x="8199755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6" name="Подзаголовок 2">
            <a:extLst>
              <a:ext uri="{FF2B5EF4-FFF2-40B4-BE49-F238E27FC236}">
                <a16:creationId xmlns:a16="http://schemas.microsoft.com/office/drawing/2014/main" id="{117CF62B-9050-B649-9A9A-2A3D45E8CCAC}"/>
              </a:ext>
            </a:extLst>
          </p:cNvPr>
          <p:cNvSpPr txBox="1">
            <a:spLocks/>
          </p:cNvSpPr>
          <p:nvPr userDrawn="1"/>
        </p:nvSpPr>
        <p:spPr>
          <a:xfrm>
            <a:off x="58737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9" name="Подзаголовок 2">
            <a:extLst>
              <a:ext uri="{FF2B5EF4-FFF2-40B4-BE49-F238E27FC236}">
                <a16:creationId xmlns:a16="http://schemas.microsoft.com/office/drawing/2014/main" id="{BD34C5FD-97BD-9B48-93BD-33F356D6AFA7}"/>
              </a:ext>
            </a:extLst>
          </p:cNvPr>
          <p:cNvSpPr txBox="1">
            <a:spLocks/>
          </p:cNvSpPr>
          <p:nvPr userDrawn="1"/>
        </p:nvSpPr>
        <p:spPr>
          <a:xfrm>
            <a:off x="438213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4" name="Подзаголовок 2">
            <a:extLst>
              <a:ext uri="{FF2B5EF4-FFF2-40B4-BE49-F238E27FC236}">
                <a16:creationId xmlns:a16="http://schemas.microsoft.com/office/drawing/2014/main" id="{587898AD-F455-EA41-B5F1-E2E084BE3ABA}"/>
              </a:ext>
            </a:extLst>
          </p:cNvPr>
          <p:cNvSpPr txBox="1">
            <a:spLocks/>
          </p:cNvSpPr>
          <p:nvPr userDrawn="1"/>
        </p:nvSpPr>
        <p:spPr>
          <a:xfrm>
            <a:off x="8199755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31" name="Дата 3">
            <a:extLst>
              <a:ext uri="{FF2B5EF4-FFF2-40B4-BE49-F238E27FC236}">
                <a16:creationId xmlns:a16="http://schemas.microsoft.com/office/drawing/2014/main" id="{4B7279A9-95FA-2D47-A321-25DE95AE2D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2D92D7-875A-4E80-B855-DC3C12CACB6B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21.07.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3" name="Номер слайда 5">
            <a:extLst>
              <a:ext uri="{FF2B5EF4-FFF2-40B4-BE49-F238E27FC236}">
                <a16:creationId xmlns:a16="http://schemas.microsoft.com/office/drawing/2014/main" id="{8EB8F628-F5B4-4F48-9909-84568691A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AA97DEB-0D7B-25FF-8C46-8E290C71E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23314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2547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фрами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542" y="1287046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id="{5BCF4016-8BFD-8947-A4E7-3D24A7A32E6C}"/>
              </a:ext>
            </a:extLst>
          </p:cNvPr>
          <p:cNvSpPr txBox="1">
            <a:spLocks/>
          </p:cNvSpPr>
          <p:nvPr userDrawn="1"/>
        </p:nvSpPr>
        <p:spPr>
          <a:xfrm>
            <a:off x="58737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0" name="Подзаголовок 2">
            <a:extLst>
              <a:ext uri="{FF2B5EF4-FFF2-40B4-BE49-F238E27FC236}">
                <a16:creationId xmlns:a16="http://schemas.microsoft.com/office/drawing/2014/main" id="{DB2C8B15-EA6F-0E47-8769-3883A7FFE66E}"/>
              </a:ext>
            </a:extLst>
          </p:cNvPr>
          <p:cNvSpPr txBox="1">
            <a:spLocks/>
          </p:cNvSpPr>
          <p:nvPr userDrawn="1"/>
        </p:nvSpPr>
        <p:spPr>
          <a:xfrm>
            <a:off x="438213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Подзаголовок 2">
            <a:extLst>
              <a:ext uri="{FF2B5EF4-FFF2-40B4-BE49-F238E27FC236}">
                <a16:creationId xmlns:a16="http://schemas.microsoft.com/office/drawing/2014/main" id="{1729DECF-ACAF-B544-AECF-2708159B7FAA}"/>
              </a:ext>
            </a:extLst>
          </p:cNvPr>
          <p:cNvSpPr txBox="1">
            <a:spLocks/>
          </p:cNvSpPr>
          <p:nvPr userDrawn="1"/>
        </p:nvSpPr>
        <p:spPr>
          <a:xfrm>
            <a:off x="8199755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6" name="Подзаголовок 2">
            <a:extLst>
              <a:ext uri="{FF2B5EF4-FFF2-40B4-BE49-F238E27FC236}">
                <a16:creationId xmlns:a16="http://schemas.microsoft.com/office/drawing/2014/main" id="{117CF62B-9050-B649-9A9A-2A3D45E8CCAC}"/>
              </a:ext>
            </a:extLst>
          </p:cNvPr>
          <p:cNvSpPr txBox="1">
            <a:spLocks/>
          </p:cNvSpPr>
          <p:nvPr userDrawn="1"/>
        </p:nvSpPr>
        <p:spPr>
          <a:xfrm>
            <a:off x="58737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9" name="Подзаголовок 2">
            <a:extLst>
              <a:ext uri="{FF2B5EF4-FFF2-40B4-BE49-F238E27FC236}">
                <a16:creationId xmlns:a16="http://schemas.microsoft.com/office/drawing/2014/main" id="{BD34C5FD-97BD-9B48-93BD-33F356D6AFA7}"/>
              </a:ext>
            </a:extLst>
          </p:cNvPr>
          <p:cNvSpPr txBox="1">
            <a:spLocks/>
          </p:cNvSpPr>
          <p:nvPr userDrawn="1"/>
        </p:nvSpPr>
        <p:spPr>
          <a:xfrm>
            <a:off x="438213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4" name="Подзаголовок 2">
            <a:extLst>
              <a:ext uri="{FF2B5EF4-FFF2-40B4-BE49-F238E27FC236}">
                <a16:creationId xmlns:a16="http://schemas.microsoft.com/office/drawing/2014/main" id="{587898AD-F455-EA41-B5F1-E2E084BE3ABA}"/>
              </a:ext>
            </a:extLst>
          </p:cNvPr>
          <p:cNvSpPr txBox="1">
            <a:spLocks/>
          </p:cNvSpPr>
          <p:nvPr userDrawn="1"/>
        </p:nvSpPr>
        <p:spPr>
          <a:xfrm>
            <a:off x="8199755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31" name="Дата 3">
            <a:extLst>
              <a:ext uri="{FF2B5EF4-FFF2-40B4-BE49-F238E27FC236}">
                <a16:creationId xmlns:a16="http://schemas.microsoft.com/office/drawing/2014/main" id="{22ED32C9-3544-5D41-96F2-14FF629EFF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A84A7E-D991-4EF0-B268-144E733772A8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21.07.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3" name="Номер слайда 5">
            <a:extLst>
              <a:ext uri="{FF2B5EF4-FFF2-40B4-BE49-F238E27FC236}">
                <a16:creationId xmlns:a16="http://schemas.microsoft.com/office/drawing/2014/main" id="{CB55075B-7F09-8247-B914-96BD24E57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B05FB3F-1857-F6F3-4D4F-307B5982E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1461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фрами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9770" y="1269603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id="{5BCF4016-8BFD-8947-A4E7-3D24A7A32E6C}"/>
              </a:ext>
            </a:extLst>
          </p:cNvPr>
          <p:cNvSpPr txBox="1">
            <a:spLocks/>
          </p:cNvSpPr>
          <p:nvPr userDrawn="1"/>
        </p:nvSpPr>
        <p:spPr>
          <a:xfrm>
            <a:off x="58737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0" name="Подзаголовок 2">
            <a:extLst>
              <a:ext uri="{FF2B5EF4-FFF2-40B4-BE49-F238E27FC236}">
                <a16:creationId xmlns:a16="http://schemas.microsoft.com/office/drawing/2014/main" id="{DB2C8B15-EA6F-0E47-8769-3883A7FFE66E}"/>
              </a:ext>
            </a:extLst>
          </p:cNvPr>
          <p:cNvSpPr txBox="1">
            <a:spLocks/>
          </p:cNvSpPr>
          <p:nvPr userDrawn="1"/>
        </p:nvSpPr>
        <p:spPr>
          <a:xfrm>
            <a:off x="438213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Подзаголовок 2">
            <a:extLst>
              <a:ext uri="{FF2B5EF4-FFF2-40B4-BE49-F238E27FC236}">
                <a16:creationId xmlns:a16="http://schemas.microsoft.com/office/drawing/2014/main" id="{1729DECF-ACAF-B544-AECF-2708159B7FAA}"/>
              </a:ext>
            </a:extLst>
          </p:cNvPr>
          <p:cNvSpPr txBox="1">
            <a:spLocks/>
          </p:cNvSpPr>
          <p:nvPr userDrawn="1"/>
        </p:nvSpPr>
        <p:spPr>
          <a:xfrm>
            <a:off x="8199755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6" name="Подзаголовок 2">
            <a:extLst>
              <a:ext uri="{FF2B5EF4-FFF2-40B4-BE49-F238E27FC236}">
                <a16:creationId xmlns:a16="http://schemas.microsoft.com/office/drawing/2014/main" id="{117CF62B-9050-B649-9A9A-2A3D45E8CCAC}"/>
              </a:ext>
            </a:extLst>
          </p:cNvPr>
          <p:cNvSpPr txBox="1">
            <a:spLocks/>
          </p:cNvSpPr>
          <p:nvPr userDrawn="1"/>
        </p:nvSpPr>
        <p:spPr>
          <a:xfrm>
            <a:off x="58737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9" name="Подзаголовок 2">
            <a:extLst>
              <a:ext uri="{FF2B5EF4-FFF2-40B4-BE49-F238E27FC236}">
                <a16:creationId xmlns:a16="http://schemas.microsoft.com/office/drawing/2014/main" id="{BD34C5FD-97BD-9B48-93BD-33F356D6AFA7}"/>
              </a:ext>
            </a:extLst>
          </p:cNvPr>
          <p:cNvSpPr txBox="1">
            <a:spLocks/>
          </p:cNvSpPr>
          <p:nvPr userDrawn="1"/>
        </p:nvSpPr>
        <p:spPr>
          <a:xfrm>
            <a:off x="438213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4" name="Подзаголовок 2">
            <a:extLst>
              <a:ext uri="{FF2B5EF4-FFF2-40B4-BE49-F238E27FC236}">
                <a16:creationId xmlns:a16="http://schemas.microsoft.com/office/drawing/2014/main" id="{587898AD-F455-EA41-B5F1-E2E084BE3ABA}"/>
              </a:ext>
            </a:extLst>
          </p:cNvPr>
          <p:cNvSpPr txBox="1">
            <a:spLocks/>
          </p:cNvSpPr>
          <p:nvPr userDrawn="1"/>
        </p:nvSpPr>
        <p:spPr>
          <a:xfrm>
            <a:off x="8199755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31" name="Дата 3">
            <a:extLst>
              <a:ext uri="{FF2B5EF4-FFF2-40B4-BE49-F238E27FC236}">
                <a16:creationId xmlns:a16="http://schemas.microsoft.com/office/drawing/2014/main" id="{665EF726-4E01-D34B-BFA2-AAC9598CDB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9CAAEE-0AD1-415C-9BBA-4F3203A330F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21.07.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3" name="Номер слайда 5">
            <a:extLst>
              <a:ext uri="{FF2B5EF4-FFF2-40B4-BE49-F238E27FC236}">
                <a16:creationId xmlns:a16="http://schemas.microsoft.com/office/drawing/2014/main" id="{40277004-7AC8-C94E-B8A6-2A02EAAC4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ADD1EE8-A50F-46CD-6949-F4175D3BCA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5066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фрами 5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542" y="1269603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id="{5BCF4016-8BFD-8947-A4E7-3D24A7A32E6C}"/>
              </a:ext>
            </a:extLst>
          </p:cNvPr>
          <p:cNvSpPr txBox="1">
            <a:spLocks/>
          </p:cNvSpPr>
          <p:nvPr userDrawn="1"/>
        </p:nvSpPr>
        <p:spPr>
          <a:xfrm>
            <a:off x="58737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0" name="Подзаголовок 2">
            <a:extLst>
              <a:ext uri="{FF2B5EF4-FFF2-40B4-BE49-F238E27FC236}">
                <a16:creationId xmlns:a16="http://schemas.microsoft.com/office/drawing/2014/main" id="{DB2C8B15-EA6F-0E47-8769-3883A7FFE66E}"/>
              </a:ext>
            </a:extLst>
          </p:cNvPr>
          <p:cNvSpPr txBox="1">
            <a:spLocks/>
          </p:cNvSpPr>
          <p:nvPr userDrawn="1"/>
        </p:nvSpPr>
        <p:spPr>
          <a:xfrm>
            <a:off x="438213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Подзаголовок 2">
            <a:extLst>
              <a:ext uri="{FF2B5EF4-FFF2-40B4-BE49-F238E27FC236}">
                <a16:creationId xmlns:a16="http://schemas.microsoft.com/office/drawing/2014/main" id="{1729DECF-ACAF-B544-AECF-2708159B7FAA}"/>
              </a:ext>
            </a:extLst>
          </p:cNvPr>
          <p:cNvSpPr txBox="1">
            <a:spLocks/>
          </p:cNvSpPr>
          <p:nvPr userDrawn="1"/>
        </p:nvSpPr>
        <p:spPr>
          <a:xfrm>
            <a:off x="8199755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6" name="Подзаголовок 2">
            <a:extLst>
              <a:ext uri="{FF2B5EF4-FFF2-40B4-BE49-F238E27FC236}">
                <a16:creationId xmlns:a16="http://schemas.microsoft.com/office/drawing/2014/main" id="{117CF62B-9050-B649-9A9A-2A3D45E8CCAC}"/>
              </a:ext>
            </a:extLst>
          </p:cNvPr>
          <p:cNvSpPr txBox="1">
            <a:spLocks/>
          </p:cNvSpPr>
          <p:nvPr userDrawn="1"/>
        </p:nvSpPr>
        <p:spPr>
          <a:xfrm>
            <a:off x="58737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9" name="Подзаголовок 2">
            <a:extLst>
              <a:ext uri="{FF2B5EF4-FFF2-40B4-BE49-F238E27FC236}">
                <a16:creationId xmlns:a16="http://schemas.microsoft.com/office/drawing/2014/main" id="{BD34C5FD-97BD-9B48-93BD-33F356D6AFA7}"/>
              </a:ext>
            </a:extLst>
          </p:cNvPr>
          <p:cNvSpPr txBox="1">
            <a:spLocks/>
          </p:cNvSpPr>
          <p:nvPr userDrawn="1"/>
        </p:nvSpPr>
        <p:spPr>
          <a:xfrm>
            <a:off x="438213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4" name="Подзаголовок 2">
            <a:extLst>
              <a:ext uri="{FF2B5EF4-FFF2-40B4-BE49-F238E27FC236}">
                <a16:creationId xmlns:a16="http://schemas.microsoft.com/office/drawing/2014/main" id="{587898AD-F455-EA41-B5F1-E2E084BE3ABA}"/>
              </a:ext>
            </a:extLst>
          </p:cNvPr>
          <p:cNvSpPr txBox="1">
            <a:spLocks/>
          </p:cNvSpPr>
          <p:nvPr userDrawn="1"/>
        </p:nvSpPr>
        <p:spPr>
          <a:xfrm>
            <a:off x="8199755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31" name="Дата 3">
            <a:extLst>
              <a:ext uri="{FF2B5EF4-FFF2-40B4-BE49-F238E27FC236}">
                <a16:creationId xmlns:a16="http://schemas.microsoft.com/office/drawing/2014/main" id="{455D0826-ECCA-E245-893A-FC2CEB4C27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fld id="{9F21DCFC-B1D8-4111-BFD1-4F270C75122C}" type="datetime1">
              <a:rPr lang="ru-RU" smtClean="0"/>
              <a:t>21.07.2023</a:t>
            </a:fld>
            <a:endParaRPr lang="ru-RU" dirty="0"/>
          </a:p>
        </p:txBody>
      </p:sp>
      <p:sp>
        <p:nvSpPr>
          <p:cNvPr id="33" name="Номер слайда 5">
            <a:extLst>
              <a:ext uri="{FF2B5EF4-FFF2-40B4-BE49-F238E27FC236}">
                <a16:creationId xmlns:a16="http://schemas.microsoft.com/office/drawing/2014/main" id="{BE88994E-1E50-A348-9027-EEB1FB1BCB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algn="r" defTabSz="914300">
              <a:defRPr/>
            </a:pPr>
            <a:r>
              <a:rPr lang="ru-RU"/>
              <a:t>Школа Летово</a:t>
            </a:r>
            <a:r>
              <a:rPr lang="en-US"/>
              <a:t>   |   </a:t>
            </a:r>
            <a:fld id="{3FF7ECCA-52A6-EE4C-AA7E-82FCFCDACFE6}" type="slidenum">
              <a:rPr lang="ru-RU" smtClean="0"/>
              <a:pPr algn="r" defTabSz="914300">
                <a:defRPr/>
              </a:pPr>
              <a:t>‹#›</a:t>
            </a:fld>
            <a:endParaRPr lang="ru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EF0E3C-6F09-C112-AD6D-FE7ACCECC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9584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иконками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84361"/>
            <a:ext cx="11229394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3" name="Дата 3">
            <a:extLst>
              <a:ext uri="{FF2B5EF4-FFF2-40B4-BE49-F238E27FC236}">
                <a16:creationId xmlns:a16="http://schemas.microsoft.com/office/drawing/2014/main" id="{189D5AC6-287E-7940-957B-B484CF6851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F2315F-4E81-499D-BFAC-549743ED479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21.07.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62BA59-6059-B946-B600-36422AECED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1400" y="2767173"/>
            <a:ext cx="2782887" cy="2984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3EF2456-3284-519B-DAC4-D09124B095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58330" y="2773110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kern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DC16B25D-4B3A-AF52-1B0D-3E4CB69C59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4448" y="2782405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kern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FDA216FA-EABD-3095-53C0-9718D873E5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400" y="5063371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kern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A4F4305A-7E84-6907-E906-6F52C4BD2A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8330" y="5069308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kern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7A412ED6-00B7-E87B-F6B8-260C4D08B4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84448" y="5078603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kern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23" name="Номер слайда 5">
            <a:extLst>
              <a:ext uri="{FF2B5EF4-FFF2-40B4-BE49-F238E27FC236}">
                <a16:creationId xmlns:a16="http://schemas.microsoft.com/office/drawing/2014/main" id="{6053D1E8-92C1-BA71-D947-B0E565F68583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DE4D03F-0F2C-B0BE-8D23-5962297D27E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91228" y="3077746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DC3BD9A-5C0F-020B-D53D-DB5F0A87FB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65408" y="308653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kern="0" baseline="0" dirty="0">
                <a:solidFill>
                  <a:srgbClr val="000000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6D0BC1A-3E0E-F1B6-EB49-50F61FE162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84448" y="3095876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kern="0" baseline="0" dirty="0" err="1">
                <a:solidFill>
                  <a:srgbClr val="000000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0F7F8A2-8212-1CCD-CD0B-6A4FCBFED0E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84448" y="537752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kern="0" baseline="0" dirty="0">
                <a:solidFill>
                  <a:srgbClr val="000000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1C7A343-2C0C-4451-A71F-20ED2730AFE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1228" y="53772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82278F2-DF5E-6041-0BB0-140E9379198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58330" y="53772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87694FC4-CFA4-43A3-9CE2-ABACC553D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128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91DE94B5-3848-D48B-D212-F9699A13456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91228" y="1582944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13183645-B6A3-E639-F6EF-EC7F29FCF08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265408" y="1582944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62D8CB25-36E2-F903-7EAD-457106D47AD8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8073745" y="1582944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D11A332-61D4-8166-17D9-890B2F56727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97912" y="3886873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814D2759-D644-06EA-D2D1-F5B5B7D8A78C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4258330" y="3886873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F310BFE-5326-C398-9FC6-00C794DEDA3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077616" y="3886873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311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иконками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84361"/>
            <a:ext cx="11229394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3" name="Дата 3">
            <a:extLst>
              <a:ext uri="{FF2B5EF4-FFF2-40B4-BE49-F238E27FC236}">
                <a16:creationId xmlns:a16="http://schemas.microsoft.com/office/drawing/2014/main" id="{189D5AC6-287E-7940-957B-B484CF6851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6C60AB-5754-43ED-B7BF-ADBF5D1FFD11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21.07.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62BA59-6059-B946-B600-36422AECED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1400" y="2767173"/>
            <a:ext cx="2782887" cy="2984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3EF2456-3284-519B-DAC4-D09124B095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58330" y="2773110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DC16B25D-4B3A-AF52-1B0D-3E4CB69C59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4448" y="2782405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FDA216FA-EABD-3095-53C0-9718D873E5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400" y="5063371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A4F4305A-7E84-6907-E906-6F52C4BD2A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8330" y="5069308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7A412ED6-00B7-E87B-F6B8-260C4D08B4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84448" y="5078603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23" name="Номер слайда 5">
            <a:extLst>
              <a:ext uri="{FF2B5EF4-FFF2-40B4-BE49-F238E27FC236}">
                <a16:creationId xmlns:a16="http://schemas.microsoft.com/office/drawing/2014/main" id="{6053D1E8-92C1-BA71-D947-B0E565F68583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DE4D03F-0F2C-B0BE-8D23-5962297D27E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91228" y="3077746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DC3BD9A-5C0F-020B-D53D-DB5F0A87FB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65408" y="308653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6D0BC1A-3E0E-F1B6-EB49-50F61FE162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84448" y="3095876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0F7F8A2-8212-1CCD-CD0B-6A4FCBFED0E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84448" y="537752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1C7A343-2C0C-4451-A71F-20ED2730AFE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1228" y="53772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82278F2-DF5E-6041-0BB0-140E9379198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58330" y="53772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87694FC4-CFA4-43A3-9CE2-ABACC553D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128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6554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иконками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Овал 30">
            <a:extLst>
              <a:ext uri="{FF2B5EF4-FFF2-40B4-BE49-F238E27FC236}">
                <a16:creationId xmlns:a16="http://schemas.microsoft.com/office/drawing/2014/main" id="{A758A63C-F6EA-8C48-BAEF-E89342F1355C}"/>
              </a:ext>
            </a:extLst>
          </p:cNvPr>
          <p:cNvSpPr>
            <a:spLocks noChangeAspect="1"/>
          </p:cNvSpPr>
          <p:nvPr userDrawn="1"/>
        </p:nvSpPr>
        <p:spPr>
          <a:xfrm>
            <a:off x="599884" y="1565464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E00EAD5D-1181-6443-88E6-B9DE32FBA2BC}"/>
              </a:ext>
            </a:extLst>
          </p:cNvPr>
          <p:cNvSpPr>
            <a:spLocks noChangeAspect="1"/>
          </p:cNvSpPr>
          <p:nvPr userDrawn="1"/>
        </p:nvSpPr>
        <p:spPr>
          <a:xfrm>
            <a:off x="4381471" y="1565464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2A11C87F-2338-9549-8466-CC6946F7AC5C}"/>
              </a:ext>
            </a:extLst>
          </p:cNvPr>
          <p:cNvSpPr>
            <a:spLocks noChangeAspect="1"/>
          </p:cNvSpPr>
          <p:nvPr userDrawn="1"/>
        </p:nvSpPr>
        <p:spPr>
          <a:xfrm>
            <a:off x="8194054" y="1565464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73142CB0-9E9B-D245-AA00-8E1D2CA818B8}"/>
              </a:ext>
            </a:extLst>
          </p:cNvPr>
          <p:cNvSpPr>
            <a:spLocks noChangeAspect="1"/>
          </p:cNvSpPr>
          <p:nvPr userDrawn="1"/>
        </p:nvSpPr>
        <p:spPr>
          <a:xfrm>
            <a:off x="599884" y="3936701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7" name="Овал 36">
            <a:extLst>
              <a:ext uri="{FF2B5EF4-FFF2-40B4-BE49-F238E27FC236}">
                <a16:creationId xmlns:a16="http://schemas.microsoft.com/office/drawing/2014/main" id="{44061F68-E4A1-E640-A633-22BF740D6777}"/>
              </a:ext>
            </a:extLst>
          </p:cNvPr>
          <p:cNvSpPr>
            <a:spLocks noChangeAspect="1"/>
          </p:cNvSpPr>
          <p:nvPr userDrawn="1"/>
        </p:nvSpPr>
        <p:spPr>
          <a:xfrm>
            <a:off x="4381471" y="3936701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C5E3ED02-D5C6-C94C-BE7F-829095B00B8D}"/>
              </a:ext>
            </a:extLst>
          </p:cNvPr>
          <p:cNvSpPr>
            <a:spLocks noChangeAspect="1"/>
          </p:cNvSpPr>
          <p:nvPr userDrawn="1"/>
        </p:nvSpPr>
        <p:spPr>
          <a:xfrm>
            <a:off x="8194054" y="3936701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707456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965755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707456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965755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707456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965755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5106010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364309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5106010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364309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5106010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364309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4C45C05-8E9F-E84F-AD90-71248208B9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84629" y="1564332"/>
            <a:ext cx="1080000" cy="1080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828A1FF-F8E5-9C4E-AD1D-16A22A0F27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7213" y="1568396"/>
            <a:ext cx="1080000" cy="1080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A6B286A8-9DA2-504B-8EE6-F0918A6D99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192392" y="3935084"/>
            <a:ext cx="1080000" cy="1080000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4907C846-1E57-244F-B9A9-1E9DBEBF7FE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99884" y="3946747"/>
            <a:ext cx="1080000" cy="1080000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23974747-E80D-AA46-BD0C-4B7A1060457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378396" y="3954719"/>
            <a:ext cx="1080000" cy="1080000"/>
          </a:xfrm>
          <a:prstGeom prst="rect">
            <a:avLst/>
          </a:prstGeom>
        </p:spPr>
      </p:pic>
      <p:sp>
        <p:nvSpPr>
          <p:cNvPr id="26" name="Дата 3">
            <a:extLst>
              <a:ext uri="{FF2B5EF4-FFF2-40B4-BE49-F238E27FC236}">
                <a16:creationId xmlns:a16="http://schemas.microsoft.com/office/drawing/2014/main" id="{C30DD76B-EA27-4643-9E1B-5F008F2EA8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5AB7DD-7001-4301-9E20-54737ABF430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21.07.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9" name="Номер слайда 5">
            <a:extLst>
              <a:ext uri="{FF2B5EF4-FFF2-40B4-BE49-F238E27FC236}">
                <a16:creationId xmlns:a16="http://schemas.microsoft.com/office/drawing/2014/main" id="{3CC0A341-86DD-384E-8B24-49A0755483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CE93761A-AAAC-FA40-ACDC-E85EF17A436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87375" y="1563707"/>
            <a:ext cx="1080000" cy="1080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C4968C7B-FDCC-DEC8-23B1-03D47E52D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03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03374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иконками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4C45C05-8E9F-E84F-AD90-71248208B9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84629" y="1548512"/>
            <a:ext cx="1080000" cy="1080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828A1FF-F8E5-9C4E-AD1D-16A22A0F27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7213" y="1552576"/>
            <a:ext cx="1080000" cy="1080000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F0013BC9-7932-2047-9C1D-1BA00A2C23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7375" y="1547887"/>
            <a:ext cx="1080000" cy="1080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A6B286A8-9DA2-504B-8EE6-F0918A6D997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192392" y="3764284"/>
            <a:ext cx="1080000" cy="1080000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4907C846-1E57-244F-B9A9-1E9DBEBF7FE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9884" y="3775947"/>
            <a:ext cx="1080000" cy="1080000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23974747-E80D-AA46-BD0C-4B7A1060457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378396" y="3783919"/>
            <a:ext cx="1080000" cy="1080000"/>
          </a:xfrm>
          <a:prstGeom prst="rect">
            <a:avLst/>
          </a:prstGeom>
        </p:spPr>
      </p:pic>
      <p:sp>
        <p:nvSpPr>
          <p:cNvPr id="26" name="Дата 3">
            <a:extLst>
              <a:ext uri="{FF2B5EF4-FFF2-40B4-BE49-F238E27FC236}">
                <a16:creationId xmlns:a16="http://schemas.microsoft.com/office/drawing/2014/main" id="{200CD4B9-2BBC-E040-A7D1-3678448FE2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04BA55-DBD1-4773-84DB-C5AD401E14BB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21.07.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Номер слайда 5">
            <a:extLst>
              <a:ext uri="{FF2B5EF4-FFF2-40B4-BE49-F238E27FC236}">
                <a16:creationId xmlns:a16="http://schemas.microsoft.com/office/drawing/2014/main" id="{2EA0D7EE-B12B-E49F-F15A-8700D9E4170E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FFD787-B447-071D-6902-622EEB0705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0600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3160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иконками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C6E5048-98E5-9D4D-8E61-25E64447B9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EFBA2-2935-4AC5-989C-098CF2D22413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21.07.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53C06D2-57D4-4143-B16D-646A653A7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algn="r" defTabSz="914300">
              <a:defRPr/>
            </a:pPr>
            <a:r>
              <a:rPr lang="ru-RU"/>
              <a:t>Школа Летово</a:t>
            </a:r>
            <a:r>
              <a:rPr lang="en-US"/>
              <a:t>   |   </a:t>
            </a:r>
            <a:fld id="{3FF7ECCA-52A6-EE4C-AA7E-82FCFCDACFE6}" type="slidenum">
              <a:rPr lang="ru-RU" smtClean="0"/>
              <a:pPr algn="r" defTabSz="914300">
                <a:defRPr/>
              </a:pPr>
              <a:t>‹#›</a:t>
            </a:fld>
            <a:endParaRPr lang="ru-RU" dirty="0"/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4C45C05-8E9F-E84F-AD90-71248208B9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84629" y="1548512"/>
            <a:ext cx="1080000" cy="1080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828A1FF-F8E5-9C4E-AD1D-16A22A0F27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7213" y="1552576"/>
            <a:ext cx="1080000" cy="1080000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F0013BC9-7932-2047-9C1D-1BA00A2C23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7375" y="1547887"/>
            <a:ext cx="1080000" cy="1080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A6B286A8-9DA2-504B-8EE6-F0918A6D997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192392" y="3764284"/>
            <a:ext cx="1080000" cy="1080000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4907C846-1E57-244F-B9A9-1E9DBEBF7FE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9884" y="3775947"/>
            <a:ext cx="1080000" cy="1080000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23974747-E80D-AA46-BD0C-4B7A1060457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378396" y="3783919"/>
            <a:ext cx="1080000" cy="10800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E1CE1198-4AEC-D1E5-ADD3-4055F01B1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060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2118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7EFDE0-5A54-402A-B0C3-6BC0BB739C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45FE571E-3C27-6DD6-3511-9925B0F5EE75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ED84316-A52C-84C0-5AFF-69A0D7BDA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02482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ото сотрудников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4" name="Дата 3">
            <a:extLst>
              <a:ext uri="{FF2B5EF4-FFF2-40B4-BE49-F238E27FC236}">
                <a16:creationId xmlns:a16="http://schemas.microsoft.com/office/drawing/2014/main" id="{35EFBECD-A71E-CB4B-81F3-F4F7C576EE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265C52-F5AE-4126-8F1C-63F29D5E058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21.07.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78" name="object 4">
            <a:extLst>
              <a:ext uri="{FF2B5EF4-FFF2-40B4-BE49-F238E27FC236}">
                <a16:creationId xmlns:a16="http://schemas.microsoft.com/office/drawing/2014/main" id="{A41EAACD-E699-EBEC-3DED-9A06399BF685}"/>
              </a:ext>
            </a:extLst>
          </p:cNvPr>
          <p:cNvSpPr/>
          <p:nvPr userDrawn="1"/>
        </p:nvSpPr>
        <p:spPr>
          <a:xfrm>
            <a:off x="760701" y="1698140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5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>
              <a:solidFill>
                <a:prstClr val="black"/>
              </a:solidFill>
            </a:endParaRPr>
          </a:p>
        </p:txBody>
      </p:sp>
      <p:sp>
        <p:nvSpPr>
          <p:cNvPr id="84" name="object 10">
            <a:extLst>
              <a:ext uri="{FF2B5EF4-FFF2-40B4-BE49-F238E27FC236}">
                <a16:creationId xmlns:a16="http://schemas.microsoft.com/office/drawing/2014/main" id="{D316184D-578C-D9D1-CD50-B438879A5FF7}"/>
              </a:ext>
            </a:extLst>
          </p:cNvPr>
          <p:cNvSpPr/>
          <p:nvPr userDrawn="1"/>
        </p:nvSpPr>
        <p:spPr>
          <a:xfrm>
            <a:off x="3043586" y="1698140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5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>
              <a:solidFill>
                <a:prstClr val="black"/>
              </a:solidFill>
            </a:endParaRPr>
          </a:p>
        </p:txBody>
      </p:sp>
      <p:sp>
        <p:nvSpPr>
          <p:cNvPr id="86" name="object 12">
            <a:extLst>
              <a:ext uri="{FF2B5EF4-FFF2-40B4-BE49-F238E27FC236}">
                <a16:creationId xmlns:a16="http://schemas.microsoft.com/office/drawing/2014/main" id="{0D7F5809-8485-0DCD-A75F-C7C82FBB2521}"/>
              </a:ext>
            </a:extLst>
          </p:cNvPr>
          <p:cNvSpPr/>
          <p:nvPr userDrawn="1"/>
        </p:nvSpPr>
        <p:spPr>
          <a:xfrm>
            <a:off x="9892244" y="1698140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4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>
              <a:solidFill>
                <a:prstClr val="black"/>
              </a:solidFill>
            </a:endParaRPr>
          </a:p>
        </p:txBody>
      </p:sp>
      <p:sp>
        <p:nvSpPr>
          <p:cNvPr id="88" name="object 14">
            <a:extLst>
              <a:ext uri="{FF2B5EF4-FFF2-40B4-BE49-F238E27FC236}">
                <a16:creationId xmlns:a16="http://schemas.microsoft.com/office/drawing/2014/main" id="{0EBBFB4C-2B6E-19C1-2995-6D87BF589FD8}"/>
              </a:ext>
            </a:extLst>
          </p:cNvPr>
          <p:cNvSpPr/>
          <p:nvPr userDrawn="1"/>
        </p:nvSpPr>
        <p:spPr>
          <a:xfrm>
            <a:off x="760701" y="4045916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5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50">
              <a:solidFill>
                <a:prstClr val="black"/>
              </a:solidFill>
            </a:endParaRPr>
          </a:p>
        </p:txBody>
      </p:sp>
      <p:sp>
        <p:nvSpPr>
          <p:cNvPr id="90" name="object 16">
            <a:extLst>
              <a:ext uri="{FF2B5EF4-FFF2-40B4-BE49-F238E27FC236}">
                <a16:creationId xmlns:a16="http://schemas.microsoft.com/office/drawing/2014/main" id="{BE072338-85D4-0585-C168-78C2F61D7D56}"/>
              </a:ext>
            </a:extLst>
          </p:cNvPr>
          <p:cNvSpPr/>
          <p:nvPr userDrawn="1"/>
        </p:nvSpPr>
        <p:spPr>
          <a:xfrm>
            <a:off x="5326472" y="4045916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5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50">
              <a:solidFill>
                <a:prstClr val="black"/>
              </a:solidFill>
            </a:endParaRPr>
          </a:p>
        </p:txBody>
      </p:sp>
      <p:sp>
        <p:nvSpPr>
          <p:cNvPr id="92" name="object 18">
            <a:extLst>
              <a:ext uri="{FF2B5EF4-FFF2-40B4-BE49-F238E27FC236}">
                <a16:creationId xmlns:a16="http://schemas.microsoft.com/office/drawing/2014/main" id="{5366FCF3-C33E-02DC-0457-E53F49B8E866}"/>
              </a:ext>
            </a:extLst>
          </p:cNvPr>
          <p:cNvSpPr/>
          <p:nvPr userDrawn="1"/>
        </p:nvSpPr>
        <p:spPr>
          <a:xfrm>
            <a:off x="3043586" y="4045916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5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50">
              <a:solidFill>
                <a:prstClr val="black"/>
              </a:solidFill>
            </a:endParaRPr>
          </a:p>
        </p:txBody>
      </p:sp>
      <p:sp>
        <p:nvSpPr>
          <p:cNvPr id="94" name="object 20">
            <a:extLst>
              <a:ext uri="{FF2B5EF4-FFF2-40B4-BE49-F238E27FC236}">
                <a16:creationId xmlns:a16="http://schemas.microsoft.com/office/drawing/2014/main" id="{301D3FD4-821D-666F-857F-80509AC5EC40}"/>
              </a:ext>
            </a:extLst>
          </p:cNvPr>
          <p:cNvSpPr/>
          <p:nvPr userDrawn="1"/>
        </p:nvSpPr>
        <p:spPr>
          <a:xfrm>
            <a:off x="7609358" y="4045916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4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50">
              <a:solidFill>
                <a:prstClr val="black"/>
              </a:solidFill>
            </a:endParaRPr>
          </a:p>
        </p:txBody>
      </p:sp>
      <p:sp>
        <p:nvSpPr>
          <p:cNvPr id="96" name="object 22">
            <a:extLst>
              <a:ext uri="{FF2B5EF4-FFF2-40B4-BE49-F238E27FC236}">
                <a16:creationId xmlns:a16="http://schemas.microsoft.com/office/drawing/2014/main" id="{944940D0-3062-D60F-285C-250D1008FA11}"/>
              </a:ext>
            </a:extLst>
          </p:cNvPr>
          <p:cNvSpPr/>
          <p:nvPr userDrawn="1"/>
        </p:nvSpPr>
        <p:spPr>
          <a:xfrm>
            <a:off x="9892244" y="4045916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4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50">
              <a:solidFill>
                <a:prstClr val="black"/>
              </a:solidFill>
            </a:endParaRPr>
          </a:p>
        </p:txBody>
      </p:sp>
      <p:sp>
        <p:nvSpPr>
          <p:cNvPr id="115" name="Picture Placeholder 3">
            <a:extLst>
              <a:ext uri="{FF2B5EF4-FFF2-40B4-BE49-F238E27FC236}">
                <a16:creationId xmlns:a16="http://schemas.microsoft.com/office/drawing/2014/main" id="{4C85F2B8-DCA3-821A-1FDD-10B301A5ADC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56022" y="177624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4C132B26-D708-0D16-102B-B8B09C30A9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0863" y="3179498"/>
            <a:ext cx="1988047" cy="298450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FBF7B00-4FD9-2867-A36C-5F2D71B236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0863" y="3505358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046E7E24-9603-ABD6-8BA8-8ECDACF082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826924" y="3184884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E8B8935B-F164-2AF1-231D-6D34C15C378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031633" y="3184884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0760F534-5ABB-7B06-72A9-635B3FF9958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314519" y="3205007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AB0D84B1-7F62-0C44-1B11-FCC290029A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53090" y="3205007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26" name="Text Placeholder 4">
            <a:extLst>
              <a:ext uri="{FF2B5EF4-FFF2-40B4-BE49-F238E27FC236}">
                <a16:creationId xmlns:a16="http://schemas.microsoft.com/office/drawing/2014/main" id="{6BDE1C90-329B-86BD-7398-0C2C3DB6170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57739" y="5497761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4E754E8A-92E2-9065-02E3-C401372A2B5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33800" y="5503147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191C0F76-D20C-E65E-A551-34ED1AB0B7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038509" y="5503147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32" name="Text Placeholder 4">
            <a:extLst>
              <a:ext uri="{FF2B5EF4-FFF2-40B4-BE49-F238E27FC236}">
                <a16:creationId xmlns:a16="http://schemas.microsoft.com/office/drawing/2014/main" id="{2DE9FD52-E336-F813-E9DD-CE336E0E791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321395" y="5523270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B4F3C70B-7367-7915-C87E-64EC01F3132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659966" y="5523270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55" name="Номер слайда 5">
            <a:extLst>
              <a:ext uri="{FF2B5EF4-FFF2-40B4-BE49-F238E27FC236}">
                <a16:creationId xmlns:a16="http://schemas.microsoft.com/office/drawing/2014/main" id="{F9F655B9-7422-3EA7-D85E-1D4F3CDB1CEE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FF4254E8-6AA6-9065-B63C-00DE28DFF7C8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3128295" y="177624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7" name="Picture Placeholder 3">
            <a:extLst>
              <a:ext uri="{FF2B5EF4-FFF2-40B4-BE49-F238E27FC236}">
                <a16:creationId xmlns:a16="http://schemas.microsoft.com/office/drawing/2014/main" id="{21C702DF-34BA-E449-5090-C47C5152A68B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5400568" y="177624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8" name="Picture Placeholder 3">
            <a:extLst>
              <a:ext uri="{FF2B5EF4-FFF2-40B4-BE49-F238E27FC236}">
                <a16:creationId xmlns:a16="http://schemas.microsoft.com/office/drawing/2014/main" id="{A0EB6CD3-ECCD-8C9C-45C2-5586FC5B97B5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7672841" y="177624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9" name="Picture Placeholder 3">
            <a:extLst>
              <a:ext uri="{FF2B5EF4-FFF2-40B4-BE49-F238E27FC236}">
                <a16:creationId xmlns:a16="http://schemas.microsoft.com/office/drawing/2014/main" id="{39B14C92-426C-FE5E-CE43-4EAE822E1271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9945113" y="177624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B1709D25-AFF9-4BD9-F54F-9DF7091FBCFB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846497" y="408129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B12FA546-8454-D39A-C931-4CB4BF7894EE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3118770" y="408129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457E73A4-5721-890A-B47A-78BE70101D61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5391043" y="408129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F8B0D601-8821-512B-7DA2-6CEDDE97F826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7663316" y="408129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4" name="Picture Placeholder 3">
            <a:extLst>
              <a:ext uri="{FF2B5EF4-FFF2-40B4-BE49-F238E27FC236}">
                <a16:creationId xmlns:a16="http://schemas.microsoft.com/office/drawing/2014/main" id="{4F7A5EC4-29C0-BA94-7830-DE3EE0F88F82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9935588" y="408129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B10D090-79AB-F0A6-C395-DDA2FE6CC86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19113" y="3505358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DAD27EF-F1D0-4068-9E30-38527D4CB19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038508" y="3515919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B41B9E03-C762-C6A1-9866-C92B7060E27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306758" y="3535305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BD66408-D01A-838F-7FD6-B13E3CD6696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659965" y="3535305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7D07145-EFBF-9E73-3CD8-5773C3A69D5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65106" y="5829746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8237E08-F8A8-28B5-0A14-2D7B9542F29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833356" y="5829746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A80D66F-0D13-6AB4-3E1C-FDC3D56C06B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052751" y="5840307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3F0F892-37DB-D02C-0FAE-DFDBB8B09C0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321001" y="5859693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CD9EEED-0814-EE1C-CFBD-AE9F3A3A656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674208" y="5859693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A937D0A5-510E-3A2D-E491-B080EDE4E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5812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3034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3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отрудников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4" name="Дата 3">
            <a:extLst>
              <a:ext uri="{FF2B5EF4-FFF2-40B4-BE49-F238E27FC236}">
                <a16:creationId xmlns:a16="http://schemas.microsoft.com/office/drawing/2014/main" id="{35EFBECD-A71E-CB4B-81F3-F4F7C576EE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544B71-3936-494E-BA10-81DCC526FED8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21.07.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B0FBDA8A-9D71-5FB3-2C84-F73721B64932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96834" y="1748461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60F6ABA0-3E04-781F-B4C6-3B4034B2ED8F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96900" y="3163028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0501CB88-8C90-4B8B-6C62-0583A869FA1D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96900" y="4605077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2BDA5839-0260-F65D-3410-D56BD067197E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6538386" y="1737184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975CECFC-5B75-186C-94BA-38EA5D1460E6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6540500" y="3152770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5930FDC-B63F-8BB2-1848-374F1D679B77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528861" y="4593145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61CFC321-7017-FB40-51AE-1F28CE84AA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76095" y="1806384"/>
            <a:ext cx="2782887" cy="2984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B6086A58-6B49-61D6-63F7-E71E3F0C73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03613" y="1801997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600" b="1" i="0" u="none" strike="noStrike" kern="1200" cap="none" spc="0" normalizeH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E115235-2EF7-EB1F-5756-CD54D97921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869471" y="3240933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600" b="1" i="0" u="none" strike="noStrike" kern="1200" cap="none" spc="0" normalizeH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3DA89972-7A22-B237-E4FF-172DD8B7143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796989" y="3236546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600" b="1" i="0" u="none" strike="noStrike" kern="1200" cap="none" spc="0" normalizeH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EAB4B580-89F6-B8DC-A18E-F7E9C318848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879410" y="4672156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600" b="1" i="0" u="none" strike="noStrike" kern="1200" cap="none" spc="0" normalizeH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7ADAEBB-2CEA-FD6E-0593-76238D63807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06928" y="4667769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600" b="1" i="0" u="none" strike="noStrike" kern="1200" cap="none" spc="0" normalizeH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1" name="Номер слайда 5">
            <a:extLst>
              <a:ext uri="{FF2B5EF4-FFF2-40B4-BE49-F238E27FC236}">
                <a16:creationId xmlns:a16="http://schemas.microsoft.com/office/drawing/2014/main" id="{6A7F9804-A18D-DEBA-09F6-6C8A0D464EED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D5ACEB3-BF97-08BB-414A-0C87ED2F211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63261" y="2105042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982A21-E4B7-8804-6482-E83EE6508EB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876095" y="355208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ADA1DE2-F351-01B9-FCDF-92667C8AD0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863261" y="49778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097352F-10B9-C987-F477-D0172FAE752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803619" y="2105042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3B31882-CC99-904C-EF83-6287062EA50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816453" y="355208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39AF7E8-46F0-E77F-8F4C-851C4D55B3A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803619" y="49778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31F25E5-193B-A0D1-7A66-52DDD87F40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58891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37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отрудников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4" name="Дата 3">
            <a:extLst>
              <a:ext uri="{FF2B5EF4-FFF2-40B4-BE49-F238E27FC236}">
                <a16:creationId xmlns:a16="http://schemas.microsoft.com/office/drawing/2014/main" id="{35EFBECD-A71E-CB4B-81F3-F4F7C576EE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A7A20F-C7D6-4ED6-AA44-821935DF9B1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21.07.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54A66AD5-B2FD-EF65-5206-6BD6EFF8BE90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87375" y="1720862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93AA9443-AB13-2AE8-73CD-B639C5ADD0FC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87375" y="3188908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FFD1C489-2ABE-739B-3042-4078CD27F3BA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87375" y="4605077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816ED943-6439-510B-6A4C-C051317222D0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6519336" y="1737184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2C135C18-9479-0F10-D307-E46CFD9FE6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6530975" y="3162296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DE0A95F7-086C-7057-325F-333F98EE0F05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519336" y="4588382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77C8E6AF-888C-D3B4-4236-08CC346DF9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13552" y="1801997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1405048B-CAB9-59ED-2B7F-EED4444022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879410" y="3240933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648C3B00-E268-6168-B2E7-1364A4A9889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06928" y="3236546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8760F349-9A09-1F4F-CA36-4C42F2DCDCF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16867" y="4667769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ED5CA317-F62A-608F-BB7E-7546057FB7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795288" y="2120641"/>
            <a:ext cx="3885286" cy="742987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ED5ED4C0-4AA8-3CE8-627B-F64DA562F0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851687" y="1818846"/>
            <a:ext cx="2782887" cy="2984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73B32FE2-59CF-AFFC-96C2-DFB3C3A546F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879410" y="4660943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F2AF57CE-6BF3-FEB9-E10F-7DFDAE39C49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851687" y="2120641"/>
            <a:ext cx="3885286" cy="74298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71" name="Text Placeholder 4">
            <a:extLst>
              <a:ext uri="{FF2B5EF4-FFF2-40B4-BE49-F238E27FC236}">
                <a16:creationId xmlns:a16="http://schemas.microsoft.com/office/drawing/2014/main" id="{FC0D9ED0-C505-F737-052A-BF7FFECCE3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878514" y="3580894"/>
            <a:ext cx="3885286" cy="742987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D7E0A54E-A976-3363-7E35-E84FB00DA6D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871565" y="4969431"/>
            <a:ext cx="3885286" cy="742987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50417806-0F70-305B-64A0-A23FA737EC4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795288" y="3541977"/>
            <a:ext cx="3885286" cy="742987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8B6558BC-E69E-0EE8-1A28-C9804A4256A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813552" y="4969431"/>
            <a:ext cx="3885286" cy="742987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Номер слайда 5">
            <a:extLst>
              <a:ext uri="{FF2B5EF4-FFF2-40B4-BE49-F238E27FC236}">
                <a16:creationId xmlns:a16="http://schemas.microsoft.com/office/drawing/2014/main" id="{9DA14FD5-2B82-436A-8D68-0898BF2A6126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FDCEF62-A7A5-CC37-0A5C-066F765CC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5959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34106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80D1F6D-7D1B-49DE-BE52-531034D79A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2382" y="1306327"/>
            <a:ext cx="5459689" cy="55403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0FE6E5ED-D573-8BF8-040E-EE3D63E44E2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152415" y="1899120"/>
            <a:ext cx="2844000" cy="2844000"/>
          </a:xfrm>
          <a:prstGeom prst="ellipse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Номер слайда 5">
            <a:extLst>
              <a:ext uri="{FF2B5EF4-FFF2-40B4-BE49-F238E27FC236}">
                <a16:creationId xmlns:a16="http://schemas.microsoft.com/office/drawing/2014/main" id="{9122BD28-8E3E-C462-D781-7E37AF1731B9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C11AEBAA-97BD-8528-5CE3-03C4836567C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74000" y="1821417"/>
            <a:ext cx="2844000" cy="2844000"/>
          </a:xfrm>
          <a:prstGeom prst="ellipse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9E320793-F0A4-BCD5-B36F-A12E25526BD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95585" y="1821417"/>
            <a:ext cx="2844000" cy="2844000"/>
          </a:xfrm>
          <a:prstGeom prst="ellipse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81B0F9-24DD-55C8-015B-99F0D2E4885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577443" y="4860928"/>
            <a:ext cx="1781175" cy="365125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buFontTx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B9B1D58-D207-72DE-04EA-3524D9C7ABE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15517" y="5209686"/>
            <a:ext cx="2105025" cy="1099039"/>
          </a:xfrm>
        </p:spPr>
        <p:txBody>
          <a:bodyPr>
            <a:noAutofit/>
          </a:bodyPr>
          <a:lstStyle>
            <a:lvl1pPr marL="0" indent="0" algn="ctr">
              <a:lnSpc>
                <a:spcPts val="1200"/>
              </a:lnSpc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None/>
              <a:defRPr sz="1200">
                <a:solidFill>
                  <a:schemeClr val="accent4"/>
                </a:solidFill>
              </a:defRPr>
            </a:lvl2pPr>
            <a:lvl3pPr marL="914400" indent="0">
              <a:buNone/>
              <a:defRPr sz="1200">
                <a:solidFill>
                  <a:schemeClr val="accent4"/>
                </a:solidFill>
              </a:defRPr>
            </a:lvl3pPr>
            <a:lvl4pPr marL="1371600" indent="0">
              <a:buNone/>
              <a:defRPr sz="1200">
                <a:solidFill>
                  <a:schemeClr val="accent4"/>
                </a:solidFill>
              </a:defRPr>
            </a:lvl4pPr>
            <a:lvl5pPr marL="1828800" indent="0">
              <a:buNone/>
              <a:defRPr sz="12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C7B1540F-EF0C-FC35-6B14-C9606AA32E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05412" y="4844561"/>
            <a:ext cx="1781175" cy="365125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buFontTx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5335FD41-DFE6-41B5-99E4-AB66C432598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043486" y="5193319"/>
            <a:ext cx="2105025" cy="1099039"/>
          </a:xfrm>
        </p:spPr>
        <p:txBody>
          <a:bodyPr>
            <a:noAutofit/>
          </a:bodyPr>
          <a:lstStyle>
            <a:lvl1pPr marL="0" indent="0" algn="ctr">
              <a:lnSpc>
                <a:spcPts val="1200"/>
              </a:lnSpc>
              <a:buNone/>
              <a:defRPr sz="1200">
                <a:solidFill>
                  <a:schemeClr val="accent4"/>
                </a:solidFill>
              </a:defRPr>
            </a:lvl1pPr>
            <a:lvl2pPr marL="457200" indent="0">
              <a:buNone/>
              <a:defRPr sz="1200">
                <a:solidFill>
                  <a:schemeClr val="accent4"/>
                </a:solidFill>
              </a:defRPr>
            </a:lvl2pPr>
            <a:lvl3pPr marL="914400" indent="0">
              <a:buNone/>
              <a:defRPr sz="1200">
                <a:solidFill>
                  <a:schemeClr val="accent4"/>
                </a:solidFill>
              </a:defRPr>
            </a:lvl3pPr>
            <a:lvl4pPr marL="1371600" indent="0">
              <a:buNone/>
              <a:defRPr sz="1200">
                <a:solidFill>
                  <a:schemeClr val="accent4"/>
                </a:solidFill>
              </a:defRPr>
            </a:lvl4pPr>
            <a:lvl5pPr marL="1828800" indent="0">
              <a:buNone/>
              <a:defRPr sz="12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222B312C-1AAA-B171-9236-75C83E4F997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833384" y="4860928"/>
            <a:ext cx="1781175" cy="365125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buFontTx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3FDABF09-9E4F-C25A-8841-FE4478EF4A9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671458" y="5209686"/>
            <a:ext cx="2105025" cy="1099039"/>
          </a:xfrm>
        </p:spPr>
        <p:txBody>
          <a:bodyPr>
            <a:noAutofit/>
          </a:bodyPr>
          <a:lstStyle>
            <a:lvl1pPr marL="0" indent="0" algn="ctr">
              <a:lnSpc>
                <a:spcPts val="1200"/>
              </a:lnSpc>
              <a:buNone/>
              <a:defRPr sz="1200">
                <a:solidFill>
                  <a:schemeClr val="accent4"/>
                </a:solidFill>
              </a:defRPr>
            </a:lvl1pPr>
            <a:lvl2pPr marL="457200" indent="0">
              <a:buNone/>
              <a:defRPr sz="1200">
                <a:solidFill>
                  <a:schemeClr val="accent4"/>
                </a:solidFill>
              </a:defRPr>
            </a:lvl2pPr>
            <a:lvl3pPr marL="914400" indent="0">
              <a:buNone/>
              <a:defRPr sz="1200">
                <a:solidFill>
                  <a:schemeClr val="accent4"/>
                </a:solidFill>
              </a:defRPr>
            </a:lvl3pPr>
            <a:lvl4pPr marL="1371600" indent="0">
              <a:buNone/>
              <a:defRPr sz="1200">
                <a:solidFill>
                  <a:schemeClr val="accent4"/>
                </a:solidFill>
              </a:defRPr>
            </a:lvl4pPr>
            <a:lvl5pPr marL="1828800" indent="0">
              <a:buNone/>
              <a:defRPr sz="12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10953C-D97F-7864-86AF-5C5E0A14E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26318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2">
            <a:extLst>
              <a:ext uri="{FF2B5EF4-FFF2-40B4-BE49-F238E27FC236}">
                <a16:creationId xmlns:a16="http://schemas.microsoft.com/office/drawing/2014/main" id="{7120B86A-761A-2BE5-0869-15F530364143}"/>
              </a:ext>
            </a:extLst>
          </p:cNvPr>
          <p:cNvSpPr/>
          <p:nvPr userDrawn="1"/>
        </p:nvSpPr>
        <p:spPr>
          <a:xfrm>
            <a:off x="808065" y="2069104"/>
            <a:ext cx="2245312" cy="2241076"/>
          </a:xfrm>
          <a:custGeom>
            <a:avLst/>
            <a:gdLst/>
            <a:ahLst/>
            <a:cxnLst/>
            <a:rect l="l" t="t" r="r" b="b"/>
            <a:pathLst>
              <a:path w="3702684" h="3695700">
                <a:moveTo>
                  <a:pt x="2090509" y="3683000"/>
                </a:moveTo>
                <a:lnTo>
                  <a:pt x="1611639" y="3683000"/>
                </a:lnTo>
                <a:lnTo>
                  <a:pt x="1658849" y="3695700"/>
                </a:lnTo>
                <a:lnTo>
                  <a:pt x="2043299" y="3695700"/>
                </a:lnTo>
                <a:lnTo>
                  <a:pt x="2090509" y="3683000"/>
                </a:lnTo>
                <a:close/>
              </a:path>
              <a:path w="3702684" h="3695700">
                <a:moveTo>
                  <a:pt x="2229866" y="3657600"/>
                </a:moveTo>
                <a:lnTo>
                  <a:pt x="1472282" y="3657600"/>
                </a:lnTo>
                <a:lnTo>
                  <a:pt x="1564797" y="3683000"/>
                </a:lnTo>
                <a:lnTo>
                  <a:pt x="2137351" y="3683000"/>
                </a:lnTo>
                <a:lnTo>
                  <a:pt x="2229866" y="3657600"/>
                </a:lnTo>
                <a:close/>
              </a:path>
              <a:path w="3702684" h="3695700">
                <a:moveTo>
                  <a:pt x="2183808" y="25400"/>
                </a:moveTo>
                <a:lnTo>
                  <a:pt x="1518340" y="25400"/>
                </a:lnTo>
                <a:lnTo>
                  <a:pt x="1426638" y="50800"/>
                </a:lnTo>
                <a:lnTo>
                  <a:pt x="1162336" y="127000"/>
                </a:lnTo>
                <a:lnTo>
                  <a:pt x="1120021" y="152400"/>
                </a:lnTo>
                <a:lnTo>
                  <a:pt x="1078243" y="165100"/>
                </a:lnTo>
                <a:lnTo>
                  <a:pt x="1037016" y="190500"/>
                </a:lnTo>
                <a:lnTo>
                  <a:pt x="996357" y="203200"/>
                </a:lnTo>
                <a:lnTo>
                  <a:pt x="916799" y="254000"/>
                </a:lnTo>
                <a:lnTo>
                  <a:pt x="877932" y="279400"/>
                </a:lnTo>
                <a:lnTo>
                  <a:pt x="839693" y="304800"/>
                </a:lnTo>
                <a:lnTo>
                  <a:pt x="802096" y="330200"/>
                </a:lnTo>
                <a:lnTo>
                  <a:pt x="765159" y="355600"/>
                </a:lnTo>
                <a:lnTo>
                  <a:pt x="728895" y="381000"/>
                </a:lnTo>
                <a:lnTo>
                  <a:pt x="693319" y="406400"/>
                </a:lnTo>
                <a:lnTo>
                  <a:pt x="658448" y="431800"/>
                </a:lnTo>
                <a:lnTo>
                  <a:pt x="624297" y="469900"/>
                </a:lnTo>
                <a:lnTo>
                  <a:pt x="590880" y="495300"/>
                </a:lnTo>
                <a:lnTo>
                  <a:pt x="558213" y="520700"/>
                </a:lnTo>
                <a:lnTo>
                  <a:pt x="526311" y="558800"/>
                </a:lnTo>
                <a:lnTo>
                  <a:pt x="495189" y="596900"/>
                </a:lnTo>
                <a:lnTo>
                  <a:pt x="464863" y="622300"/>
                </a:lnTo>
                <a:lnTo>
                  <a:pt x="435347" y="660400"/>
                </a:lnTo>
                <a:lnTo>
                  <a:pt x="406658" y="698500"/>
                </a:lnTo>
                <a:lnTo>
                  <a:pt x="378810" y="723900"/>
                </a:lnTo>
                <a:lnTo>
                  <a:pt x="351819" y="762000"/>
                </a:lnTo>
                <a:lnTo>
                  <a:pt x="325700" y="800100"/>
                </a:lnTo>
                <a:lnTo>
                  <a:pt x="300467" y="838200"/>
                </a:lnTo>
                <a:lnTo>
                  <a:pt x="276137" y="876300"/>
                </a:lnTo>
                <a:lnTo>
                  <a:pt x="252724" y="914400"/>
                </a:lnTo>
                <a:lnTo>
                  <a:pt x="230245" y="952500"/>
                </a:lnTo>
                <a:lnTo>
                  <a:pt x="208713" y="990600"/>
                </a:lnTo>
                <a:lnTo>
                  <a:pt x="188144" y="1041400"/>
                </a:lnTo>
                <a:lnTo>
                  <a:pt x="168554" y="1079500"/>
                </a:lnTo>
                <a:lnTo>
                  <a:pt x="149958" y="1117600"/>
                </a:lnTo>
                <a:lnTo>
                  <a:pt x="132370" y="1168400"/>
                </a:lnTo>
                <a:lnTo>
                  <a:pt x="115807" y="1206500"/>
                </a:lnTo>
                <a:lnTo>
                  <a:pt x="100283" y="1244600"/>
                </a:lnTo>
                <a:lnTo>
                  <a:pt x="85814" y="1295400"/>
                </a:lnTo>
                <a:lnTo>
                  <a:pt x="72415" y="1333500"/>
                </a:lnTo>
                <a:lnTo>
                  <a:pt x="60101" y="1384300"/>
                </a:lnTo>
                <a:lnTo>
                  <a:pt x="48887" y="1422400"/>
                </a:lnTo>
                <a:lnTo>
                  <a:pt x="38790" y="1473200"/>
                </a:lnTo>
                <a:lnTo>
                  <a:pt x="29823" y="1524000"/>
                </a:lnTo>
                <a:lnTo>
                  <a:pt x="22002" y="1562100"/>
                </a:lnTo>
                <a:lnTo>
                  <a:pt x="15342" y="1612900"/>
                </a:lnTo>
                <a:lnTo>
                  <a:pt x="9860" y="1663700"/>
                </a:lnTo>
                <a:lnTo>
                  <a:pt x="5569" y="1701800"/>
                </a:lnTo>
                <a:lnTo>
                  <a:pt x="2485" y="1752600"/>
                </a:lnTo>
                <a:lnTo>
                  <a:pt x="623" y="1803400"/>
                </a:lnTo>
                <a:lnTo>
                  <a:pt x="0" y="1854200"/>
                </a:lnTo>
                <a:lnTo>
                  <a:pt x="623" y="1905000"/>
                </a:lnTo>
                <a:lnTo>
                  <a:pt x="2485" y="1943100"/>
                </a:lnTo>
                <a:lnTo>
                  <a:pt x="5569" y="1993900"/>
                </a:lnTo>
                <a:lnTo>
                  <a:pt x="9860" y="2044700"/>
                </a:lnTo>
                <a:lnTo>
                  <a:pt x="15342" y="2095500"/>
                </a:lnTo>
                <a:lnTo>
                  <a:pt x="22002" y="2133600"/>
                </a:lnTo>
                <a:lnTo>
                  <a:pt x="29823" y="2184400"/>
                </a:lnTo>
                <a:lnTo>
                  <a:pt x="38790" y="2235200"/>
                </a:lnTo>
                <a:lnTo>
                  <a:pt x="48887" y="2273300"/>
                </a:lnTo>
                <a:lnTo>
                  <a:pt x="60101" y="2324100"/>
                </a:lnTo>
                <a:lnTo>
                  <a:pt x="72415" y="2362200"/>
                </a:lnTo>
                <a:lnTo>
                  <a:pt x="85814" y="2413000"/>
                </a:lnTo>
                <a:lnTo>
                  <a:pt x="100283" y="2451100"/>
                </a:lnTo>
                <a:lnTo>
                  <a:pt x="115807" y="2501900"/>
                </a:lnTo>
                <a:lnTo>
                  <a:pt x="132370" y="2540000"/>
                </a:lnTo>
                <a:lnTo>
                  <a:pt x="149958" y="2578100"/>
                </a:lnTo>
                <a:lnTo>
                  <a:pt x="168554" y="2628900"/>
                </a:lnTo>
                <a:lnTo>
                  <a:pt x="188144" y="2667000"/>
                </a:lnTo>
                <a:lnTo>
                  <a:pt x="208713" y="2705100"/>
                </a:lnTo>
                <a:lnTo>
                  <a:pt x="230245" y="2743200"/>
                </a:lnTo>
                <a:lnTo>
                  <a:pt x="252724" y="2781300"/>
                </a:lnTo>
                <a:lnTo>
                  <a:pt x="276137" y="2819400"/>
                </a:lnTo>
                <a:lnTo>
                  <a:pt x="300467" y="2857500"/>
                </a:lnTo>
                <a:lnTo>
                  <a:pt x="325700" y="2895600"/>
                </a:lnTo>
                <a:lnTo>
                  <a:pt x="351819" y="2933700"/>
                </a:lnTo>
                <a:lnTo>
                  <a:pt x="378810" y="2971800"/>
                </a:lnTo>
                <a:lnTo>
                  <a:pt x="406658" y="3009900"/>
                </a:lnTo>
                <a:lnTo>
                  <a:pt x="435347" y="3048000"/>
                </a:lnTo>
                <a:lnTo>
                  <a:pt x="464863" y="3073400"/>
                </a:lnTo>
                <a:lnTo>
                  <a:pt x="495189" y="3111500"/>
                </a:lnTo>
                <a:lnTo>
                  <a:pt x="526311" y="3149600"/>
                </a:lnTo>
                <a:lnTo>
                  <a:pt x="558213" y="3175000"/>
                </a:lnTo>
                <a:lnTo>
                  <a:pt x="590880" y="3213100"/>
                </a:lnTo>
                <a:lnTo>
                  <a:pt x="624297" y="3238500"/>
                </a:lnTo>
                <a:lnTo>
                  <a:pt x="658448" y="3263900"/>
                </a:lnTo>
                <a:lnTo>
                  <a:pt x="693319" y="3289300"/>
                </a:lnTo>
                <a:lnTo>
                  <a:pt x="728895" y="3327400"/>
                </a:lnTo>
                <a:lnTo>
                  <a:pt x="765159" y="3352800"/>
                </a:lnTo>
                <a:lnTo>
                  <a:pt x="802096" y="3378200"/>
                </a:lnTo>
                <a:lnTo>
                  <a:pt x="839693" y="3403600"/>
                </a:lnTo>
                <a:lnTo>
                  <a:pt x="877932" y="3429000"/>
                </a:lnTo>
                <a:lnTo>
                  <a:pt x="916799" y="3454400"/>
                </a:lnTo>
                <a:lnTo>
                  <a:pt x="956279" y="3467100"/>
                </a:lnTo>
                <a:lnTo>
                  <a:pt x="1037016" y="3517900"/>
                </a:lnTo>
                <a:lnTo>
                  <a:pt x="1078243" y="3530600"/>
                </a:lnTo>
                <a:lnTo>
                  <a:pt x="1120021" y="3556000"/>
                </a:lnTo>
                <a:lnTo>
                  <a:pt x="1205172" y="3581400"/>
                </a:lnTo>
                <a:lnTo>
                  <a:pt x="1248514" y="3606800"/>
                </a:lnTo>
                <a:lnTo>
                  <a:pt x="1426638" y="3657600"/>
                </a:lnTo>
                <a:lnTo>
                  <a:pt x="2275510" y="3657600"/>
                </a:lnTo>
                <a:lnTo>
                  <a:pt x="2453634" y="3606800"/>
                </a:lnTo>
                <a:lnTo>
                  <a:pt x="2496976" y="3581400"/>
                </a:lnTo>
                <a:lnTo>
                  <a:pt x="2582127" y="3556000"/>
                </a:lnTo>
                <a:lnTo>
                  <a:pt x="2623905" y="3530600"/>
                </a:lnTo>
                <a:lnTo>
                  <a:pt x="2665132" y="3517900"/>
                </a:lnTo>
                <a:lnTo>
                  <a:pt x="2745869" y="3467100"/>
                </a:lnTo>
                <a:lnTo>
                  <a:pt x="2785349" y="3454400"/>
                </a:lnTo>
                <a:lnTo>
                  <a:pt x="2824216" y="3429000"/>
                </a:lnTo>
                <a:lnTo>
                  <a:pt x="2862456" y="3403600"/>
                </a:lnTo>
                <a:lnTo>
                  <a:pt x="2900052" y="3378200"/>
                </a:lnTo>
                <a:lnTo>
                  <a:pt x="2936989" y="3352800"/>
                </a:lnTo>
                <a:lnTo>
                  <a:pt x="2973254" y="3327400"/>
                </a:lnTo>
                <a:lnTo>
                  <a:pt x="3008829" y="3289300"/>
                </a:lnTo>
                <a:lnTo>
                  <a:pt x="3043700" y="3263900"/>
                </a:lnTo>
                <a:lnTo>
                  <a:pt x="3077851" y="3238500"/>
                </a:lnTo>
                <a:lnTo>
                  <a:pt x="3111268" y="3213100"/>
                </a:lnTo>
                <a:lnTo>
                  <a:pt x="3143936" y="3175000"/>
                </a:lnTo>
                <a:lnTo>
                  <a:pt x="3175838" y="3149600"/>
                </a:lnTo>
                <a:lnTo>
                  <a:pt x="3206959" y="3111500"/>
                </a:lnTo>
                <a:lnTo>
                  <a:pt x="3237285" y="3073400"/>
                </a:lnTo>
                <a:lnTo>
                  <a:pt x="3266801" y="3048000"/>
                </a:lnTo>
                <a:lnTo>
                  <a:pt x="3295490" y="3009900"/>
                </a:lnTo>
                <a:lnTo>
                  <a:pt x="3323338" y="2971800"/>
                </a:lnTo>
                <a:lnTo>
                  <a:pt x="3350329" y="2933700"/>
                </a:lnTo>
                <a:lnTo>
                  <a:pt x="3376448" y="2895600"/>
                </a:lnTo>
                <a:lnTo>
                  <a:pt x="3401681" y="2857500"/>
                </a:lnTo>
                <a:lnTo>
                  <a:pt x="3426011" y="2819400"/>
                </a:lnTo>
                <a:lnTo>
                  <a:pt x="3449424" y="2781300"/>
                </a:lnTo>
                <a:lnTo>
                  <a:pt x="3471904" y="2743200"/>
                </a:lnTo>
                <a:lnTo>
                  <a:pt x="3493435" y="2705100"/>
                </a:lnTo>
                <a:lnTo>
                  <a:pt x="3514004" y="2667000"/>
                </a:lnTo>
                <a:lnTo>
                  <a:pt x="3533594" y="2628900"/>
                </a:lnTo>
                <a:lnTo>
                  <a:pt x="3552191" y="2578100"/>
                </a:lnTo>
                <a:lnTo>
                  <a:pt x="3569778" y="2540000"/>
                </a:lnTo>
                <a:lnTo>
                  <a:pt x="3586341" y="2501900"/>
                </a:lnTo>
                <a:lnTo>
                  <a:pt x="3601865" y="2451100"/>
                </a:lnTo>
                <a:lnTo>
                  <a:pt x="3616334" y="2413000"/>
                </a:lnTo>
                <a:lnTo>
                  <a:pt x="3629733" y="2362200"/>
                </a:lnTo>
                <a:lnTo>
                  <a:pt x="3642047" y="2324100"/>
                </a:lnTo>
                <a:lnTo>
                  <a:pt x="3653261" y="2273300"/>
                </a:lnTo>
                <a:lnTo>
                  <a:pt x="3663358" y="2235200"/>
                </a:lnTo>
                <a:lnTo>
                  <a:pt x="3672325" y="2184400"/>
                </a:lnTo>
                <a:lnTo>
                  <a:pt x="3680146" y="2133600"/>
                </a:lnTo>
                <a:lnTo>
                  <a:pt x="3686806" y="2095500"/>
                </a:lnTo>
                <a:lnTo>
                  <a:pt x="3692288" y="2044700"/>
                </a:lnTo>
                <a:lnTo>
                  <a:pt x="3696579" y="1993900"/>
                </a:lnTo>
                <a:lnTo>
                  <a:pt x="3699663" y="1943100"/>
                </a:lnTo>
                <a:lnTo>
                  <a:pt x="3701525" y="1905000"/>
                </a:lnTo>
                <a:lnTo>
                  <a:pt x="3702149" y="1854200"/>
                </a:lnTo>
                <a:lnTo>
                  <a:pt x="3701525" y="1803400"/>
                </a:lnTo>
                <a:lnTo>
                  <a:pt x="3699663" y="1752600"/>
                </a:lnTo>
                <a:lnTo>
                  <a:pt x="3696579" y="1701800"/>
                </a:lnTo>
                <a:lnTo>
                  <a:pt x="3692288" y="1663700"/>
                </a:lnTo>
                <a:lnTo>
                  <a:pt x="3686806" y="1612900"/>
                </a:lnTo>
                <a:lnTo>
                  <a:pt x="3680146" y="1562100"/>
                </a:lnTo>
                <a:lnTo>
                  <a:pt x="3672325" y="1524000"/>
                </a:lnTo>
                <a:lnTo>
                  <a:pt x="3663358" y="1473200"/>
                </a:lnTo>
                <a:lnTo>
                  <a:pt x="3653261" y="1422400"/>
                </a:lnTo>
                <a:lnTo>
                  <a:pt x="3642047" y="1384300"/>
                </a:lnTo>
                <a:lnTo>
                  <a:pt x="3629733" y="1333500"/>
                </a:lnTo>
                <a:lnTo>
                  <a:pt x="3616334" y="1295400"/>
                </a:lnTo>
                <a:lnTo>
                  <a:pt x="3601865" y="1244600"/>
                </a:lnTo>
                <a:lnTo>
                  <a:pt x="3586341" y="1206500"/>
                </a:lnTo>
                <a:lnTo>
                  <a:pt x="3569778" y="1168400"/>
                </a:lnTo>
                <a:lnTo>
                  <a:pt x="3552191" y="1117600"/>
                </a:lnTo>
                <a:lnTo>
                  <a:pt x="3533594" y="1079500"/>
                </a:lnTo>
                <a:lnTo>
                  <a:pt x="3514004" y="1041400"/>
                </a:lnTo>
                <a:lnTo>
                  <a:pt x="3493435" y="990600"/>
                </a:lnTo>
                <a:lnTo>
                  <a:pt x="3471904" y="952500"/>
                </a:lnTo>
                <a:lnTo>
                  <a:pt x="3449424" y="914400"/>
                </a:lnTo>
                <a:lnTo>
                  <a:pt x="3426011" y="876300"/>
                </a:lnTo>
                <a:lnTo>
                  <a:pt x="3401681" y="838200"/>
                </a:lnTo>
                <a:lnTo>
                  <a:pt x="3376448" y="800100"/>
                </a:lnTo>
                <a:lnTo>
                  <a:pt x="3350329" y="762000"/>
                </a:lnTo>
                <a:lnTo>
                  <a:pt x="3323338" y="723900"/>
                </a:lnTo>
                <a:lnTo>
                  <a:pt x="3295490" y="698500"/>
                </a:lnTo>
                <a:lnTo>
                  <a:pt x="3266801" y="660400"/>
                </a:lnTo>
                <a:lnTo>
                  <a:pt x="3237285" y="622300"/>
                </a:lnTo>
                <a:lnTo>
                  <a:pt x="3206959" y="596900"/>
                </a:lnTo>
                <a:lnTo>
                  <a:pt x="3175838" y="558800"/>
                </a:lnTo>
                <a:lnTo>
                  <a:pt x="3143936" y="520700"/>
                </a:lnTo>
                <a:lnTo>
                  <a:pt x="3111268" y="495300"/>
                </a:lnTo>
                <a:lnTo>
                  <a:pt x="3077851" y="469900"/>
                </a:lnTo>
                <a:lnTo>
                  <a:pt x="3043700" y="431800"/>
                </a:lnTo>
                <a:lnTo>
                  <a:pt x="3008829" y="406400"/>
                </a:lnTo>
                <a:lnTo>
                  <a:pt x="2973254" y="381000"/>
                </a:lnTo>
                <a:lnTo>
                  <a:pt x="2936989" y="355600"/>
                </a:lnTo>
                <a:lnTo>
                  <a:pt x="2900052" y="330200"/>
                </a:lnTo>
                <a:lnTo>
                  <a:pt x="2862456" y="304800"/>
                </a:lnTo>
                <a:lnTo>
                  <a:pt x="2824216" y="279400"/>
                </a:lnTo>
                <a:lnTo>
                  <a:pt x="2785349" y="254000"/>
                </a:lnTo>
                <a:lnTo>
                  <a:pt x="2705791" y="203200"/>
                </a:lnTo>
                <a:lnTo>
                  <a:pt x="2665132" y="190500"/>
                </a:lnTo>
                <a:lnTo>
                  <a:pt x="2623905" y="165100"/>
                </a:lnTo>
                <a:lnTo>
                  <a:pt x="2582127" y="152400"/>
                </a:lnTo>
                <a:lnTo>
                  <a:pt x="2539812" y="127000"/>
                </a:lnTo>
                <a:lnTo>
                  <a:pt x="2275510" y="50800"/>
                </a:lnTo>
                <a:lnTo>
                  <a:pt x="2183808" y="25400"/>
                </a:lnTo>
                <a:close/>
              </a:path>
              <a:path w="3702684" h="3695700">
                <a:moveTo>
                  <a:pt x="2090509" y="12700"/>
                </a:moveTo>
                <a:lnTo>
                  <a:pt x="1611639" y="12700"/>
                </a:lnTo>
                <a:lnTo>
                  <a:pt x="1564797" y="25400"/>
                </a:lnTo>
                <a:lnTo>
                  <a:pt x="2137351" y="25400"/>
                </a:lnTo>
                <a:lnTo>
                  <a:pt x="2090509" y="12700"/>
                </a:lnTo>
                <a:close/>
              </a:path>
              <a:path w="3702684" h="3695700">
                <a:moveTo>
                  <a:pt x="1995735" y="0"/>
                </a:moveTo>
                <a:lnTo>
                  <a:pt x="1706413" y="0"/>
                </a:lnTo>
                <a:lnTo>
                  <a:pt x="1658849" y="12700"/>
                </a:lnTo>
                <a:lnTo>
                  <a:pt x="2043299" y="12700"/>
                </a:lnTo>
                <a:lnTo>
                  <a:pt x="1995735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74F6CF05-FC38-431A-822D-D9874075012B}"/>
              </a:ext>
            </a:extLst>
          </p:cNvPr>
          <p:cNvSpPr/>
          <p:nvPr userDrawn="1"/>
        </p:nvSpPr>
        <p:spPr>
          <a:xfrm>
            <a:off x="3582944" y="2068415"/>
            <a:ext cx="2245312" cy="2241076"/>
          </a:xfrm>
          <a:custGeom>
            <a:avLst/>
            <a:gdLst/>
            <a:ahLst/>
            <a:cxnLst/>
            <a:rect l="l" t="t" r="r" b="b"/>
            <a:pathLst>
              <a:path w="3702684" h="3695700">
                <a:moveTo>
                  <a:pt x="2090509" y="3683000"/>
                </a:moveTo>
                <a:lnTo>
                  <a:pt x="1611639" y="3683000"/>
                </a:lnTo>
                <a:lnTo>
                  <a:pt x="1658849" y="3695700"/>
                </a:lnTo>
                <a:lnTo>
                  <a:pt x="2043299" y="3695700"/>
                </a:lnTo>
                <a:lnTo>
                  <a:pt x="2090509" y="3683000"/>
                </a:lnTo>
                <a:close/>
              </a:path>
              <a:path w="3702684" h="3695700">
                <a:moveTo>
                  <a:pt x="2229866" y="3657600"/>
                </a:moveTo>
                <a:lnTo>
                  <a:pt x="1472282" y="3657600"/>
                </a:lnTo>
                <a:lnTo>
                  <a:pt x="1564797" y="3683000"/>
                </a:lnTo>
                <a:lnTo>
                  <a:pt x="2137351" y="3683000"/>
                </a:lnTo>
                <a:lnTo>
                  <a:pt x="2229866" y="3657600"/>
                </a:lnTo>
                <a:close/>
              </a:path>
              <a:path w="3702684" h="3695700">
                <a:moveTo>
                  <a:pt x="2183808" y="25400"/>
                </a:moveTo>
                <a:lnTo>
                  <a:pt x="1518340" y="25400"/>
                </a:lnTo>
                <a:lnTo>
                  <a:pt x="1426638" y="50800"/>
                </a:lnTo>
                <a:lnTo>
                  <a:pt x="1162336" y="127000"/>
                </a:lnTo>
                <a:lnTo>
                  <a:pt x="1120021" y="152400"/>
                </a:lnTo>
                <a:lnTo>
                  <a:pt x="1078243" y="165100"/>
                </a:lnTo>
                <a:lnTo>
                  <a:pt x="1037016" y="190500"/>
                </a:lnTo>
                <a:lnTo>
                  <a:pt x="996357" y="203200"/>
                </a:lnTo>
                <a:lnTo>
                  <a:pt x="916799" y="254000"/>
                </a:lnTo>
                <a:lnTo>
                  <a:pt x="877932" y="279400"/>
                </a:lnTo>
                <a:lnTo>
                  <a:pt x="839693" y="304800"/>
                </a:lnTo>
                <a:lnTo>
                  <a:pt x="802096" y="330200"/>
                </a:lnTo>
                <a:lnTo>
                  <a:pt x="765159" y="355600"/>
                </a:lnTo>
                <a:lnTo>
                  <a:pt x="728895" y="381000"/>
                </a:lnTo>
                <a:lnTo>
                  <a:pt x="693319" y="406400"/>
                </a:lnTo>
                <a:lnTo>
                  <a:pt x="658448" y="431800"/>
                </a:lnTo>
                <a:lnTo>
                  <a:pt x="624297" y="469900"/>
                </a:lnTo>
                <a:lnTo>
                  <a:pt x="590880" y="495300"/>
                </a:lnTo>
                <a:lnTo>
                  <a:pt x="558213" y="520700"/>
                </a:lnTo>
                <a:lnTo>
                  <a:pt x="526311" y="558800"/>
                </a:lnTo>
                <a:lnTo>
                  <a:pt x="495189" y="596900"/>
                </a:lnTo>
                <a:lnTo>
                  <a:pt x="464863" y="622300"/>
                </a:lnTo>
                <a:lnTo>
                  <a:pt x="435347" y="660400"/>
                </a:lnTo>
                <a:lnTo>
                  <a:pt x="406658" y="698500"/>
                </a:lnTo>
                <a:lnTo>
                  <a:pt x="378810" y="723900"/>
                </a:lnTo>
                <a:lnTo>
                  <a:pt x="351819" y="762000"/>
                </a:lnTo>
                <a:lnTo>
                  <a:pt x="325700" y="800100"/>
                </a:lnTo>
                <a:lnTo>
                  <a:pt x="300467" y="838200"/>
                </a:lnTo>
                <a:lnTo>
                  <a:pt x="276137" y="876300"/>
                </a:lnTo>
                <a:lnTo>
                  <a:pt x="252724" y="914400"/>
                </a:lnTo>
                <a:lnTo>
                  <a:pt x="230245" y="952500"/>
                </a:lnTo>
                <a:lnTo>
                  <a:pt x="208713" y="990600"/>
                </a:lnTo>
                <a:lnTo>
                  <a:pt x="188144" y="1041400"/>
                </a:lnTo>
                <a:lnTo>
                  <a:pt x="168554" y="1079500"/>
                </a:lnTo>
                <a:lnTo>
                  <a:pt x="149958" y="1117600"/>
                </a:lnTo>
                <a:lnTo>
                  <a:pt x="132370" y="1168400"/>
                </a:lnTo>
                <a:lnTo>
                  <a:pt x="115807" y="1206500"/>
                </a:lnTo>
                <a:lnTo>
                  <a:pt x="100283" y="1244600"/>
                </a:lnTo>
                <a:lnTo>
                  <a:pt x="85814" y="1295400"/>
                </a:lnTo>
                <a:lnTo>
                  <a:pt x="72415" y="1333500"/>
                </a:lnTo>
                <a:lnTo>
                  <a:pt x="60101" y="1384300"/>
                </a:lnTo>
                <a:lnTo>
                  <a:pt x="48887" y="1422400"/>
                </a:lnTo>
                <a:lnTo>
                  <a:pt x="38790" y="1473200"/>
                </a:lnTo>
                <a:lnTo>
                  <a:pt x="29823" y="1524000"/>
                </a:lnTo>
                <a:lnTo>
                  <a:pt x="22002" y="1562100"/>
                </a:lnTo>
                <a:lnTo>
                  <a:pt x="15342" y="1612900"/>
                </a:lnTo>
                <a:lnTo>
                  <a:pt x="9860" y="1663700"/>
                </a:lnTo>
                <a:lnTo>
                  <a:pt x="5569" y="1701800"/>
                </a:lnTo>
                <a:lnTo>
                  <a:pt x="2485" y="1752600"/>
                </a:lnTo>
                <a:lnTo>
                  <a:pt x="623" y="1803400"/>
                </a:lnTo>
                <a:lnTo>
                  <a:pt x="0" y="1854200"/>
                </a:lnTo>
                <a:lnTo>
                  <a:pt x="623" y="1905000"/>
                </a:lnTo>
                <a:lnTo>
                  <a:pt x="2485" y="1943100"/>
                </a:lnTo>
                <a:lnTo>
                  <a:pt x="5569" y="1993900"/>
                </a:lnTo>
                <a:lnTo>
                  <a:pt x="9860" y="2044700"/>
                </a:lnTo>
                <a:lnTo>
                  <a:pt x="15342" y="2095500"/>
                </a:lnTo>
                <a:lnTo>
                  <a:pt x="22002" y="2133600"/>
                </a:lnTo>
                <a:lnTo>
                  <a:pt x="29823" y="2184400"/>
                </a:lnTo>
                <a:lnTo>
                  <a:pt x="38790" y="2235200"/>
                </a:lnTo>
                <a:lnTo>
                  <a:pt x="48887" y="2273300"/>
                </a:lnTo>
                <a:lnTo>
                  <a:pt x="60101" y="2324100"/>
                </a:lnTo>
                <a:lnTo>
                  <a:pt x="72415" y="2362200"/>
                </a:lnTo>
                <a:lnTo>
                  <a:pt x="85814" y="2413000"/>
                </a:lnTo>
                <a:lnTo>
                  <a:pt x="100283" y="2451100"/>
                </a:lnTo>
                <a:lnTo>
                  <a:pt x="115807" y="2501900"/>
                </a:lnTo>
                <a:lnTo>
                  <a:pt x="132370" y="2540000"/>
                </a:lnTo>
                <a:lnTo>
                  <a:pt x="149958" y="2578100"/>
                </a:lnTo>
                <a:lnTo>
                  <a:pt x="168554" y="2628900"/>
                </a:lnTo>
                <a:lnTo>
                  <a:pt x="188144" y="2667000"/>
                </a:lnTo>
                <a:lnTo>
                  <a:pt x="208713" y="2705100"/>
                </a:lnTo>
                <a:lnTo>
                  <a:pt x="230245" y="2743200"/>
                </a:lnTo>
                <a:lnTo>
                  <a:pt x="252724" y="2781300"/>
                </a:lnTo>
                <a:lnTo>
                  <a:pt x="276137" y="2819400"/>
                </a:lnTo>
                <a:lnTo>
                  <a:pt x="300467" y="2857500"/>
                </a:lnTo>
                <a:lnTo>
                  <a:pt x="325700" y="2895600"/>
                </a:lnTo>
                <a:lnTo>
                  <a:pt x="351819" y="2933700"/>
                </a:lnTo>
                <a:lnTo>
                  <a:pt x="378810" y="2971800"/>
                </a:lnTo>
                <a:lnTo>
                  <a:pt x="406658" y="3009900"/>
                </a:lnTo>
                <a:lnTo>
                  <a:pt x="435347" y="3048000"/>
                </a:lnTo>
                <a:lnTo>
                  <a:pt x="464863" y="3073400"/>
                </a:lnTo>
                <a:lnTo>
                  <a:pt x="495189" y="3111500"/>
                </a:lnTo>
                <a:lnTo>
                  <a:pt x="526311" y="3149600"/>
                </a:lnTo>
                <a:lnTo>
                  <a:pt x="558213" y="3175000"/>
                </a:lnTo>
                <a:lnTo>
                  <a:pt x="590880" y="3213100"/>
                </a:lnTo>
                <a:lnTo>
                  <a:pt x="624297" y="3238500"/>
                </a:lnTo>
                <a:lnTo>
                  <a:pt x="658448" y="3263900"/>
                </a:lnTo>
                <a:lnTo>
                  <a:pt x="693319" y="3289300"/>
                </a:lnTo>
                <a:lnTo>
                  <a:pt x="728895" y="3327400"/>
                </a:lnTo>
                <a:lnTo>
                  <a:pt x="765159" y="3352800"/>
                </a:lnTo>
                <a:lnTo>
                  <a:pt x="802096" y="3378200"/>
                </a:lnTo>
                <a:lnTo>
                  <a:pt x="839693" y="3403600"/>
                </a:lnTo>
                <a:lnTo>
                  <a:pt x="877932" y="3429000"/>
                </a:lnTo>
                <a:lnTo>
                  <a:pt x="916799" y="3454400"/>
                </a:lnTo>
                <a:lnTo>
                  <a:pt x="956279" y="3467100"/>
                </a:lnTo>
                <a:lnTo>
                  <a:pt x="1037016" y="3517900"/>
                </a:lnTo>
                <a:lnTo>
                  <a:pt x="1078243" y="3530600"/>
                </a:lnTo>
                <a:lnTo>
                  <a:pt x="1120021" y="3556000"/>
                </a:lnTo>
                <a:lnTo>
                  <a:pt x="1205172" y="3581400"/>
                </a:lnTo>
                <a:lnTo>
                  <a:pt x="1248514" y="3606800"/>
                </a:lnTo>
                <a:lnTo>
                  <a:pt x="1426638" y="3657600"/>
                </a:lnTo>
                <a:lnTo>
                  <a:pt x="2275510" y="3657600"/>
                </a:lnTo>
                <a:lnTo>
                  <a:pt x="2453634" y="3606800"/>
                </a:lnTo>
                <a:lnTo>
                  <a:pt x="2496976" y="3581400"/>
                </a:lnTo>
                <a:lnTo>
                  <a:pt x="2582127" y="3556000"/>
                </a:lnTo>
                <a:lnTo>
                  <a:pt x="2623905" y="3530600"/>
                </a:lnTo>
                <a:lnTo>
                  <a:pt x="2665132" y="3517900"/>
                </a:lnTo>
                <a:lnTo>
                  <a:pt x="2745869" y="3467100"/>
                </a:lnTo>
                <a:lnTo>
                  <a:pt x="2785349" y="3454400"/>
                </a:lnTo>
                <a:lnTo>
                  <a:pt x="2824216" y="3429000"/>
                </a:lnTo>
                <a:lnTo>
                  <a:pt x="2862456" y="3403600"/>
                </a:lnTo>
                <a:lnTo>
                  <a:pt x="2900052" y="3378200"/>
                </a:lnTo>
                <a:lnTo>
                  <a:pt x="2936989" y="3352800"/>
                </a:lnTo>
                <a:lnTo>
                  <a:pt x="2973254" y="3327400"/>
                </a:lnTo>
                <a:lnTo>
                  <a:pt x="3008829" y="3289300"/>
                </a:lnTo>
                <a:lnTo>
                  <a:pt x="3043700" y="3263900"/>
                </a:lnTo>
                <a:lnTo>
                  <a:pt x="3077851" y="3238500"/>
                </a:lnTo>
                <a:lnTo>
                  <a:pt x="3111268" y="3213100"/>
                </a:lnTo>
                <a:lnTo>
                  <a:pt x="3143936" y="3175000"/>
                </a:lnTo>
                <a:lnTo>
                  <a:pt x="3175838" y="3149600"/>
                </a:lnTo>
                <a:lnTo>
                  <a:pt x="3206959" y="3111500"/>
                </a:lnTo>
                <a:lnTo>
                  <a:pt x="3237285" y="3073400"/>
                </a:lnTo>
                <a:lnTo>
                  <a:pt x="3266801" y="3048000"/>
                </a:lnTo>
                <a:lnTo>
                  <a:pt x="3295490" y="3009900"/>
                </a:lnTo>
                <a:lnTo>
                  <a:pt x="3323338" y="2971800"/>
                </a:lnTo>
                <a:lnTo>
                  <a:pt x="3350329" y="2933700"/>
                </a:lnTo>
                <a:lnTo>
                  <a:pt x="3376448" y="2895600"/>
                </a:lnTo>
                <a:lnTo>
                  <a:pt x="3401681" y="2857500"/>
                </a:lnTo>
                <a:lnTo>
                  <a:pt x="3426011" y="2819400"/>
                </a:lnTo>
                <a:lnTo>
                  <a:pt x="3449424" y="2781300"/>
                </a:lnTo>
                <a:lnTo>
                  <a:pt x="3471904" y="2743200"/>
                </a:lnTo>
                <a:lnTo>
                  <a:pt x="3493435" y="2705100"/>
                </a:lnTo>
                <a:lnTo>
                  <a:pt x="3514004" y="2667000"/>
                </a:lnTo>
                <a:lnTo>
                  <a:pt x="3533594" y="2628900"/>
                </a:lnTo>
                <a:lnTo>
                  <a:pt x="3552191" y="2578100"/>
                </a:lnTo>
                <a:lnTo>
                  <a:pt x="3569778" y="2540000"/>
                </a:lnTo>
                <a:lnTo>
                  <a:pt x="3586341" y="2501900"/>
                </a:lnTo>
                <a:lnTo>
                  <a:pt x="3601865" y="2451100"/>
                </a:lnTo>
                <a:lnTo>
                  <a:pt x="3616334" y="2413000"/>
                </a:lnTo>
                <a:lnTo>
                  <a:pt x="3629733" y="2362200"/>
                </a:lnTo>
                <a:lnTo>
                  <a:pt x="3642047" y="2324100"/>
                </a:lnTo>
                <a:lnTo>
                  <a:pt x="3653261" y="2273300"/>
                </a:lnTo>
                <a:lnTo>
                  <a:pt x="3663358" y="2235200"/>
                </a:lnTo>
                <a:lnTo>
                  <a:pt x="3672325" y="2184400"/>
                </a:lnTo>
                <a:lnTo>
                  <a:pt x="3680146" y="2133600"/>
                </a:lnTo>
                <a:lnTo>
                  <a:pt x="3686806" y="2095500"/>
                </a:lnTo>
                <a:lnTo>
                  <a:pt x="3692288" y="2044700"/>
                </a:lnTo>
                <a:lnTo>
                  <a:pt x="3696579" y="1993900"/>
                </a:lnTo>
                <a:lnTo>
                  <a:pt x="3699663" y="1943100"/>
                </a:lnTo>
                <a:lnTo>
                  <a:pt x="3701525" y="1905000"/>
                </a:lnTo>
                <a:lnTo>
                  <a:pt x="3702149" y="1854200"/>
                </a:lnTo>
                <a:lnTo>
                  <a:pt x="3701525" y="1803400"/>
                </a:lnTo>
                <a:lnTo>
                  <a:pt x="3699663" y="1752600"/>
                </a:lnTo>
                <a:lnTo>
                  <a:pt x="3696579" y="1701800"/>
                </a:lnTo>
                <a:lnTo>
                  <a:pt x="3692288" y="1663700"/>
                </a:lnTo>
                <a:lnTo>
                  <a:pt x="3686806" y="1612900"/>
                </a:lnTo>
                <a:lnTo>
                  <a:pt x="3680146" y="1562100"/>
                </a:lnTo>
                <a:lnTo>
                  <a:pt x="3672325" y="1524000"/>
                </a:lnTo>
                <a:lnTo>
                  <a:pt x="3663358" y="1473200"/>
                </a:lnTo>
                <a:lnTo>
                  <a:pt x="3653261" y="1422400"/>
                </a:lnTo>
                <a:lnTo>
                  <a:pt x="3642047" y="1384300"/>
                </a:lnTo>
                <a:lnTo>
                  <a:pt x="3629733" y="1333500"/>
                </a:lnTo>
                <a:lnTo>
                  <a:pt x="3616334" y="1295400"/>
                </a:lnTo>
                <a:lnTo>
                  <a:pt x="3601865" y="1244600"/>
                </a:lnTo>
                <a:lnTo>
                  <a:pt x="3586341" y="1206500"/>
                </a:lnTo>
                <a:lnTo>
                  <a:pt x="3569778" y="1168400"/>
                </a:lnTo>
                <a:lnTo>
                  <a:pt x="3552191" y="1117600"/>
                </a:lnTo>
                <a:lnTo>
                  <a:pt x="3533594" y="1079500"/>
                </a:lnTo>
                <a:lnTo>
                  <a:pt x="3514004" y="1041400"/>
                </a:lnTo>
                <a:lnTo>
                  <a:pt x="3493435" y="990600"/>
                </a:lnTo>
                <a:lnTo>
                  <a:pt x="3471904" y="952500"/>
                </a:lnTo>
                <a:lnTo>
                  <a:pt x="3449424" y="914400"/>
                </a:lnTo>
                <a:lnTo>
                  <a:pt x="3426011" y="876300"/>
                </a:lnTo>
                <a:lnTo>
                  <a:pt x="3401681" y="838200"/>
                </a:lnTo>
                <a:lnTo>
                  <a:pt x="3376448" y="800100"/>
                </a:lnTo>
                <a:lnTo>
                  <a:pt x="3350329" y="762000"/>
                </a:lnTo>
                <a:lnTo>
                  <a:pt x="3323338" y="723900"/>
                </a:lnTo>
                <a:lnTo>
                  <a:pt x="3295490" y="698500"/>
                </a:lnTo>
                <a:lnTo>
                  <a:pt x="3266801" y="660400"/>
                </a:lnTo>
                <a:lnTo>
                  <a:pt x="3237285" y="622300"/>
                </a:lnTo>
                <a:lnTo>
                  <a:pt x="3206959" y="596900"/>
                </a:lnTo>
                <a:lnTo>
                  <a:pt x="3175838" y="558800"/>
                </a:lnTo>
                <a:lnTo>
                  <a:pt x="3143936" y="520700"/>
                </a:lnTo>
                <a:lnTo>
                  <a:pt x="3111268" y="495300"/>
                </a:lnTo>
                <a:lnTo>
                  <a:pt x="3077851" y="469900"/>
                </a:lnTo>
                <a:lnTo>
                  <a:pt x="3043700" y="431800"/>
                </a:lnTo>
                <a:lnTo>
                  <a:pt x="3008829" y="406400"/>
                </a:lnTo>
                <a:lnTo>
                  <a:pt x="2973254" y="381000"/>
                </a:lnTo>
                <a:lnTo>
                  <a:pt x="2936989" y="355600"/>
                </a:lnTo>
                <a:lnTo>
                  <a:pt x="2900052" y="330200"/>
                </a:lnTo>
                <a:lnTo>
                  <a:pt x="2862456" y="304800"/>
                </a:lnTo>
                <a:lnTo>
                  <a:pt x="2824216" y="279400"/>
                </a:lnTo>
                <a:lnTo>
                  <a:pt x="2785349" y="254000"/>
                </a:lnTo>
                <a:lnTo>
                  <a:pt x="2705791" y="203200"/>
                </a:lnTo>
                <a:lnTo>
                  <a:pt x="2665132" y="190500"/>
                </a:lnTo>
                <a:lnTo>
                  <a:pt x="2623905" y="165100"/>
                </a:lnTo>
                <a:lnTo>
                  <a:pt x="2582127" y="152400"/>
                </a:lnTo>
                <a:lnTo>
                  <a:pt x="2539812" y="127000"/>
                </a:lnTo>
                <a:lnTo>
                  <a:pt x="2275510" y="50800"/>
                </a:lnTo>
                <a:lnTo>
                  <a:pt x="2183808" y="25400"/>
                </a:lnTo>
                <a:close/>
              </a:path>
              <a:path w="3702684" h="3695700">
                <a:moveTo>
                  <a:pt x="2090509" y="12700"/>
                </a:moveTo>
                <a:lnTo>
                  <a:pt x="1611639" y="12700"/>
                </a:lnTo>
                <a:lnTo>
                  <a:pt x="1564797" y="25400"/>
                </a:lnTo>
                <a:lnTo>
                  <a:pt x="2137351" y="25400"/>
                </a:lnTo>
                <a:lnTo>
                  <a:pt x="2090509" y="12700"/>
                </a:lnTo>
                <a:close/>
              </a:path>
              <a:path w="3702684" h="3695700">
                <a:moveTo>
                  <a:pt x="1995735" y="0"/>
                </a:moveTo>
                <a:lnTo>
                  <a:pt x="1706413" y="0"/>
                </a:lnTo>
                <a:lnTo>
                  <a:pt x="1658849" y="12700"/>
                </a:lnTo>
                <a:lnTo>
                  <a:pt x="2043299" y="12700"/>
                </a:lnTo>
                <a:lnTo>
                  <a:pt x="1995735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1C1D5AF8-99D8-4AE2-A82F-3A41EC57E218}"/>
              </a:ext>
            </a:extLst>
          </p:cNvPr>
          <p:cNvSpPr/>
          <p:nvPr userDrawn="1"/>
        </p:nvSpPr>
        <p:spPr>
          <a:xfrm>
            <a:off x="9145193" y="2068415"/>
            <a:ext cx="2245312" cy="2241076"/>
          </a:xfrm>
          <a:custGeom>
            <a:avLst/>
            <a:gdLst/>
            <a:ahLst/>
            <a:cxnLst/>
            <a:rect l="l" t="t" r="r" b="b"/>
            <a:pathLst>
              <a:path w="3702684" h="3695700">
                <a:moveTo>
                  <a:pt x="2090509" y="3683000"/>
                </a:moveTo>
                <a:lnTo>
                  <a:pt x="1611639" y="3683000"/>
                </a:lnTo>
                <a:lnTo>
                  <a:pt x="1658849" y="3695700"/>
                </a:lnTo>
                <a:lnTo>
                  <a:pt x="2043299" y="3695700"/>
                </a:lnTo>
                <a:lnTo>
                  <a:pt x="2090509" y="3683000"/>
                </a:lnTo>
                <a:close/>
              </a:path>
              <a:path w="3702684" h="3695700">
                <a:moveTo>
                  <a:pt x="2229866" y="3657600"/>
                </a:moveTo>
                <a:lnTo>
                  <a:pt x="1472282" y="3657600"/>
                </a:lnTo>
                <a:lnTo>
                  <a:pt x="1564797" y="3683000"/>
                </a:lnTo>
                <a:lnTo>
                  <a:pt x="2137351" y="3683000"/>
                </a:lnTo>
                <a:lnTo>
                  <a:pt x="2229866" y="3657600"/>
                </a:lnTo>
                <a:close/>
              </a:path>
              <a:path w="3702684" h="3695700">
                <a:moveTo>
                  <a:pt x="2183808" y="25400"/>
                </a:moveTo>
                <a:lnTo>
                  <a:pt x="1518340" y="25400"/>
                </a:lnTo>
                <a:lnTo>
                  <a:pt x="1426638" y="50800"/>
                </a:lnTo>
                <a:lnTo>
                  <a:pt x="1162336" y="127000"/>
                </a:lnTo>
                <a:lnTo>
                  <a:pt x="1120021" y="152400"/>
                </a:lnTo>
                <a:lnTo>
                  <a:pt x="1078243" y="165100"/>
                </a:lnTo>
                <a:lnTo>
                  <a:pt x="1037016" y="190500"/>
                </a:lnTo>
                <a:lnTo>
                  <a:pt x="996357" y="203200"/>
                </a:lnTo>
                <a:lnTo>
                  <a:pt x="916799" y="254000"/>
                </a:lnTo>
                <a:lnTo>
                  <a:pt x="877932" y="279400"/>
                </a:lnTo>
                <a:lnTo>
                  <a:pt x="839693" y="304800"/>
                </a:lnTo>
                <a:lnTo>
                  <a:pt x="802096" y="330200"/>
                </a:lnTo>
                <a:lnTo>
                  <a:pt x="765159" y="355600"/>
                </a:lnTo>
                <a:lnTo>
                  <a:pt x="728895" y="381000"/>
                </a:lnTo>
                <a:lnTo>
                  <a:pt x="693319" y="406400"/>
                </a:lnTo>
                <a:lnTo>
                  <a:pt x="658448" y="431800"/>
                </a:lnTo>
                <a:lnTo>
                  <a:pt x="624297" y="469900"/>
                </a:lnTo>
                <a:lnTo>
                  <a:pt x="590880" y="495300"/>
                </a:lnTo>
                <a:lnTo>
                  <a:pt x="558213" y="520700"/>
                </a:lnTo>
                <a:lnTo>
                  <a:pt x="526311" y="558800"/>
                </a:lnTo>
                <a:lnTo>
                  <a:pt x="495189" y="596900"/>
                </a:lnTo>
                <a:lnTo>
                  <a:pt x="464863" y="622300"/>
                </a:lnTo>
                <a:lnTo>
                  <a:pt x="435347" y="660400"/>
                </a:lnTo>
                <a:lnTo>
                  <a:pt x="406658" y="698500"/>
                </a:lnTo>
                <a:lnTo>
                  <a:pt x="378810" y="723900"/>
                </a:lnTo>
                <a:lnTo>
                  <a:pt x="351819" y="762000"/>
                </a:lnTo>
                <a:lnTo>
                  <a:pt x="325700" y="800100"/>
                </a:lnTo>
                <a:lnTo>
                  <a:pt x="300467" y="838200"/>
                </a:lnTo>
                <a:lnTo>
                  <a:pt x="276137" y="876300"/>
                </a:lnTo>
                <a:lnTo>
                  <a:pt x="252724" y="914400"/>
                </a:lnTo>
                <a:lnTo>
                  <a:pt x="230245" y="952500"/>
                </a:lnTo>
                <a:lnTo>
                  <a:pt x="208713" y="990600"/>
                </a:lnTo>
                <a:lnTo>
                  <a:pt x="188144" y="1041400"/>
                </a:lnTo>
                <a:lnTo>
                  <a:pt x="168554" y="1079500"/>
                </a:lnTo>
                <a:lnTo>
                  <a:pt x="149958" y="1117600"/>
                </a:lnTo>
                <a:lnTo>
                  <a:pt x="132370" y="1168400"/>
                </a:lnTo>
                <a:lnTo>
                  <a:pt x="115807" y="1206500"/>
                </a:lnTo>
                <a:lnTo>
                  <a:pt x="100283" y="1244600"/>
                </a:lnTo>
                <a:lnTo>
                  <a:pt x="85814" y="1295400"/>
                </a:lnTo>
                <a:lnTo>
                  <a:pt x="72415" y="1333500"/>
                </a:lnTo>
                <a:lnTo>
                  <a:pt x="60101" y="1384300"/>
                </a:lnTo>
                <a:lnTo>
                  <a:pt x="48887" y="1422400"/>
                </a:lnTo>
                <a:lnTo>
                  <a:pt x="38790" y="1473200"/>
                </a:lnTo>
                <a:lnTo>
                  <a:pt x="29823" y="1524000"/>
                </a:lnTo>
                <a:lnTo>
                  <a:pt x="22002" y="1562100"/>
                </a:lnTo>
                <a:lnTo>
                  <a:pt x="15342" y="1612900"/>
                </a:lnTo>
                <a:lnTo>
                  <a:pt x="9860" y="1663700"/>
                </a:lnTo>
                <a:lnTo>
                  <a:pt x="5569" y="1701800"/>
                </a:lnTo>
                <a:lnTo>
                  <a:pt x="2485" y="1752600"/>
                </a:lnTo>
                <a:lnTo>
                  <a:pt x="623" y="1803400"/>
                </a:lnTo>
                <a:lnTo>
                  <a:pt x="0" y="1854200"/>
                </a:lnTo>
                <a:lnTo>
                  <a:pt x="623" y="1905000"/>
                </a:lnTo>
                <a:lnTo>
                  <a:pt x="2485" y="1943100"/>
                </a:lnTo>
                <a:lnTo>
                  <a:pt x="5569" y="1993900"/>
                </a:lnTo>
                <a:lnTo>
                  <a:pt x="9860" y="2044700"/>
                </a:lnTo>
                <a:lnTo>
                  <a:pt x="15342" y="2095500"/>
                </a:lnTo>
                <a:lnTo>
                  <a:pt x="22002" y="2133600"/>
                </a:lnTo>
                <a:lnTo>
                  <a:pt x="29823" y="2184400"/>
                </a:lnTo>
                <a:lnTo>
                  <a:pt x="38790" y="2235200"/>
                </a:lnTo>
                <a:lnTo>
                  <a:pt x="48887" y="2273300"/>
                </a:lnTo>
                <a:lnTo>
                  <a:pt x="60101" y="2324100"/>
                </a:lnTo>
                <a:lnTo>
                  <a:pt x="72415" y="2362200"/>
                </a:lnTo>
                <a:lnTo>
                  <a:pt x="85814" y="2413000"/>
                </a:lnTo>
                <a:lnTo>
                  <a:pt x="100283" y="2451100"/>
                </a:lnTo>
                <a:lnTo>
                  <a:pt x="115807" y="2501900"/>
                </a:lnTo>
                <a:lnTo>
                  <a:pt x="132370" y="2540000"/>
                </a:lnTo>
                <a:lnTo>
                  <a:pt x="149958" y="2578100"/>
                </a:lnTo>
                <a:lnTo>
                  <a:pt x="168554" y="2628900"/>
                </a:lnTo>
                <a:lnTo>
                  <a:pt x="188144" y="2667000"/>
                </a:lnTo>
                <a:lnTo>
                  <a:pt x="208713" y="2705100"/>
                </a:lnTo>
                <a:lnTo>
                  <a:pt x="230245" y="2743200"/>
                </a:lnTo>
                <a:lnTo>
                  <a:pt x="252724" y="2781300"/>
                </a:lnTo>
                <a:lnTo>
                  <a:pt x="276137" y="2819400"/>
                </a:lnTo>
                <a:lnTo>
                  <a:pt x="300467" y="2857500"/>
                </a:lnTo>
                <a:lnTo>
                  <a:pt x="325700" y="2895600"/>
                </a:lnTo>
                <a:lnTo>
                  <a:pt x="351819" y="2933700"/>
                </a:lnTo>
                <a:lnTo>
                  <a:pt x="378810" y="2971800"/>
                </a:lnTo>
                <a:lnTo>
                  <a:pt x="406658" y="3009900"/>
                </a:lnTo>
                <a:lnTo>
                  <a:pt x="435347" y="3048000"/>
                </a:lnTo>
                <a:lnTo>
                  <a:pt x="464863" y="3073400"/>
                </a:lnTo>
                <a:lnTo>
                  <a:pt x="495189" y="3111500"/>
                </a:lnTo>
                <a:lnTo>
                  <a:pt x="526311" y="3149600"/>
                </a:lnTo>
                <a:lnTo>
                  <a:pt x="558213" y="3175000"/>
                </a:lnTo>
                <a:lnTo>
                  <a:pt x="590880" y="3213100"/>
                </a:lnTo>
                <a:lnTo>
                  <a:pt x="624297" y="3238500"/>
                </a:lnTo>
                <a:lnTo>
                  <a:pt x="658448" y="3263900"/>
                </a:lnTo>
                <a:lnTo>
                  <a:pt x="693319" y="3289300"/>
                </a:lnTo>
                <a:lnTo>
                  <a:pt x="728895" y="3327400"/>
                </a:lnTo>
                <a:lnTo>
                  <a:pt x="765159" y="3352800"/>
                </a:lnTo>
                <a:lnTo>
                  <a:pt x="802096" y="3378200"/>
                </a:lnTo>
                <a:lnTo>
                  <a:pt x="839693" y="3403600"/>
                </a:lnTo>
                <a:lnTo>
                  <a:pt x="877932" y="3429000"/>
                </a:lnTo>
                <a:lnTo>
                  <a:pt x="916799" y="3454400"/>
                </a:lnTo>
                <a:lnTo>
                  <a:pt x="956279" y="3467100"/>
                </a:lnTo>
                <a:lnTo>
                  <a:pt x="1037016" y="3517900"/>
                </a:lnTo>
                <a:lnTo>
                  <a:pt x="1078243" y="3530600"/>
                </a:lnTo>
                <a:lnTo>
                  <a:pt x="1120021" y="3556000"/>
                </a:lnTo>
                <a:lnTo>
                  <a:pt x="1205172" y="3581400"/>
                </a:lnTo>
                <a:lnTo>
                  <a:pt x="1248514" y="3606800"/>
                </a:lnTo>
                <a:lnTo>
                  <a:pt x="1426638" y="3657600"/>
                </a:lnTo>
                <a:lnTo>
                  <a:pt x="2275510" y="3657600"/>
                </a:lnTo>
                <a:lnTo>
                  <a:pt x="2453634" y="3606800"/>
                </a:lnTo>
                <a:lnTo>
                  <a:pt x="2496976" y="3581400"/>
                </a:lnTo>
                <a:lnTo>
                  <a:pt x="2582127" y="3556000"/>
                </a:lnTo>
                <a:lnTo>
                  <a:pt x="2623905" y="3530600"/>
                </a:lnTo>
                <a:lnTo>
                  <a:pt x="2665132" y="3517900"/>
                </a:lnTo>
                <a:lnTo>
                  <a:pt x="2745869" y="3467100"/>
                </a:lnTo>
                <a:lnTo>
                  <a:pt x="2785349" y="3454400"/>
                </a:lnTo>
                <a:lnTo>
                  <a:pt x="2824216" y="3429000"/>
                </a:lnTo>
                <a:lnTo>
                  <a:pt x="2862456" y="3403600"/>
                </a:lnTo>
                <a:lnTo>
                  <a:pt x="2900052" y="3378200"/>
                </a:lnTo>
                <a:lnTo>
                  <a:pt x="2936989" y="3352800"/>
                </a:lnTo>
                <a:lnTo>
                  <a:pt x="2973254" y="3327400"/>
                </a:lnTo>
                <a:lnTo>
                  <a:pt x="3008829" y="3289300"/>
                </a:lnTo>
                <a:lnTo>
                  <a:pt x="3043700" y="3263900"/>
                </a:lnTo>
                <a:lnTo>
                  <a:pt x="3077851" y="3238500"/>
                </a:lnTo>
                <a:lnTo>
                  <a:pt x="3111268" y="3213100"/>
                </a:lnTo>
                <a:lnTo>
                  <a:pt x="3143936" y="3175000"/>
                </a:lnTo>
                <a:lnTo>
                  <a:pt x="3175838" y="3149600"/>
                </a:lnTo>
                <a:lnTo>
                  <a:pt x="3206959" y="3111500"/>
                </a:lnTo>
                <a:lnTo>
                  <a:pt x="3237285" y="3073400"/>
                </a:lnTo>
                <a:lnTo>
                  <a:pt x="3266801" y="3048000"/>
                </a:lnTo>
                <a:lnTo>
                  <a:pt x="3295490" y="3009900"/>
                </a:lnTo>
                <a:lnTo>
                  <a:pt x="3323338" y="2971800"/>
                </a:lnTo>
                <a:lnTo>
                  <a:pt x="3350329" y="2933700"/>
                </a:lnTo>
                <a:lnTo>
                  <a:pt x="3376448" y="2895600"/>
                </a:lnTo>
                <a:lnTo>
                  <a:pt x="3401681" y="2857500"/>
                </a:lnTo>
                <a:lnTo>
                  <a:pt x="3426011" y="2819400"/>
                </a:lnTo>
                <a:lnTo>
                  <a:pt x="3449424" y="2781300"/>
                </a:lnTo>
                <a:lnTo>
                  <a:pt x="3471904" y="2743200"/>
                </a:lnTo>
                <a:lnTo>
                  <a:pt x="3493435" y="2705100"/>
                </a:lnTo>
                <a:lnTo>
                  <a:pt x="3514004" y="2667000"/>
                </a:lnTo>
                <a:lnTo>
                  <a:pt x="3533594" y="2628900"/>
                </a:lnTo>
                <a:lnTo>
                  <a:pt x="3552191" y="2578100"/>
                </a:lnTo>
                <a:lnTo>
                  <a:pt x="3569778" y="2540000"/>
                </a:lnTo>
                <a:lnTo>
                  <a:pt x="3586341" y="2501900"/>
                </a:lnTo>
                <a:lnTo>
                  <a:pt x="3601865" y="2451100"/>
                </a:lnTo>
                <a:lnTo>
                  <a:pt x="3616334" y="2413000"/>
                </a:lnTo>
                <a:lnTo>
                  <a:pt x="3629733" y="2362200"/>
                </a:lnTo>
                <a:lnTo>
                  <a:pt x="3642047" y="2324100"/>
                </a:lnTo>
                <a:lnTo>
                  <a:pt x="3653261" y="2273300"/>
                </a:lnTo>
                <a:lnTo>
                  <a:pt x="3663358" y="2235200"/>
                </a:lnTo>
                <a:lnTo>
                  <a:pt x="3672325" y="2184400"/>
                </a:lnTo>
                <a:lnTo>
                  <a:pt x="3680146" y="2133600"/>
                </a:lnTo>
                <a:lnTo>
                  <a:pt x="3686806" y="2095500"/>
                </a:lnTo>
                <a:lnTo>
                  <a:pt x="3692288" y="2044700"/>
                </a:lnTo>
                <a:lnTo>
                  <a:pt x="3696579" y="1993900"/>
                </a:lnTo>
                <a:lnTo>
                  <a:pt x="3699663" y="1943100"/>
                </a:lnTo>
                <a:lnTo>
                  <a:pt x="3701525" y="1905000"/>
                </a:lnTo>
                <a:lnTo>
                  <a:pt x="3702149" y="1854200"/>
                </a:lnTo>
                <a:lnTo>
                  <a:pt x="3701525" y="1803400"/>
                </a:lnTo>
                <a:lnTo>
                  <a:pt x="3699663" y="1752600"/>
                </a:lnTo>
                <a:lnTo>
                  <a:pt x="3696579" y="1701800"/>
                </a:lnTo>
                <a:lnTo>
                  <a:pt x="3692288" y="1663700"/>
                </a:lnTo>
                <a:lnTo>
                  <a:pt x="3686806" y="1612900"/>
                </a:lnTo>
                <a:lnTo>
                  <a:pt x="3680146" y="1562100"/>
                </a:lnTo>
                <a:lnTo>
                  <a:pt x="3672325" y="1524000"/>
                </a:lnTo>
                <a:lnTo>
                  <a:pt x="3663358" y="1473200"/>
                </a:lnTo>
                <a:lnTo>
                  <a:pt x="3653261" y="1422400"/>
                </a:lnTo>
                <a:lnTo>
                  <a:pt x="3642047" y="1384300"/>
                </a:lnTo>
                <a:lnTo>
                  <a:pt x="3629733" y="1333500"/>
                </a:lnTo>
                <a:lnTo>
                  <a:pt x="3616334" y="1295400"/>
                </a:lnTo>
                <a:lnTo>
                  <a:pt x="3601865" y="1244600"/>
                </a:lnTo>
                <a:lnTo>
                  <a:pt x="3586341" y="1206500"/>
                </a:lnTo>
                <a:lnTo>
                  <a:pt x="3569778" y="1168400"/>
                </a:lnTo>
                <a:lnTo>
                  <a:pt x="3552191" y="1117600"/>
                </a:lnTo>
                <a:lnTo>
                  <a:pt x="3533594" y="1079500"/>
                </a:lnTo>
                <a:lnTo>
                  <a:pt x="3514004" y="1041400"/>
                </a:lnTo>
                <a:lnTo>
                  <a:pt x="3493435" y="990600"/>
                </a:lnTo>
                <a:lnTo>
                  <a:pt x="3471904" y="952500"/>
                </a:lnTo>
                <a:lnTo>
                  <a:pt x="3449424" y="914400"/>
                </a:lnTo>
                <a:lnTo>
                  <a:pt x="3426011" y="876300"/>
                </a:lnTo>
                <a:lnTo>
                  <a:pt x="3401681" y="838200"/>
                </a:lnTo>
                <a:lnTo>
                  <a:pt x="3376448" y="800100"/>
                </a:lnTo>
                <a:lnTo>
                  <a:pt x="3350329" y="762000"/>
                </a:lnTo>
                <a:lnTo>
                  <a:pt x="3323338" y="723900"/>
                </a:lnTo>
                <a:lnTo>
                  <a:pt x="3295490" y="698500"/>
                </a:lnTo>
                <a:lnTo>
                  <a:pt x="3266801" y="660400"/>
                </a:lnTo>
                <a:lnTo>
                  <a:pt x="3237285" y="622300"/>
                </a:lnTo>
                <a:lnTo>
                  <a:pt x="3206959" y="596900"/>
                </a:lnTo>
                <a:lnTo>
                  <a:pt x="3175838" y="558800"/>
                </a:lnTo>
                <a:lnTo>
                  <a:pt x="3143936" y="520700"/>
                </a:lnTo>
                <a:lnTo>
                  <a:pt x="3111268" y="495300"/>
                </a:lnTo>
                <a:lnTo>
                  <a:pt x="3077851" y="469900"/>
                </a:lnTo>
                <a:lnTo>
                  <a:pt x="3043700" y="431800"/>
                </a:lnTo>
                <a:lnTo>
                  <a:pt x="3008829" y="406400"/>
                </a:lnTo>
                <a:lnTo>
                  <a:pt x="2973254" y="381000"/>
                </a:lnTo>
                <a:lnTo>
                  <a:pt x="2936989" y="355600"/>
                </a:lnTo>
                <a:lnTo>
                  <a:pt x="2900052" y="330200"/>
                </a:lnTo>
                <a:lnTo>
                  <a:pt x="2862456" y="304800"/>
                </a:lnTo>
                <a:lnTo>
                  <a:pt x="2824216" y="279400"/>
                </a:lnTo>
                <a:lnTo>
                  <a:pt x="2785349" y="254000"/>
                </a:lnTo>
                <a:lnTo>
                  <a:pt x="2705791" y="203200"/>
                </a:lnTo>
                <a:lnTo>
                  <a:pt x="2665132" y="190500"/>
                </a:lnTo>
                <a:lnTo>
                  <a:pt x="2623905" y="165100"/>
                </a:lnTo>
                <a:lnTo>
                  <a:pt x="2582127" y="152400"/>
                </a:lnTo>
                <a:lnTo>
                  <a:pt x="2539812" y="127000"/>
                </a:lnTo>
                <a:lnTo>
                  <a:pt x="2275510" y="50800"/>
                </a:lnTo>
                <a:lnTo>
                  <a:pt x="2183808" y="25400"/>
                </a:lnTo>
                <a:close/>
              </a:path>
              <a:path w="3702684" h="3695700">
                <a:moveTo>
                  <a:pt x="2090509" y="12700"/>
                </a:moveTo>
                <a:lnTo>
                  <a:pt x="1611639" y="12700"/>
                </a:lnTo>
                <a:lnTo>
                  <a:pt x="1564797" y="25400"/>
                </a:lnTo>
                <a:lnTo>
                  <a:pt x="2137351" y="25400"/>
                </a:lnTo>
                <a:lnTo>
                  <a:pt x="2090509" y="12700"/>
                </a:lnTo>
                <a:close/>
              </a:path>
              <a:path w="3702684" h="3695700">
                <a:moveTo>
                  <a:pt x="1995735" y="0"/>
                </a:moveTo>
                <a:lnTo>
                  <a:pt x="1706413" y="0"/>
                </a:lnTo>
                <a:lnTo>
                  <a:pt x="1658849" y="12700"/>
                </a:lnTo>
                <a:lnTo>
                  <a:pt x="2043299" y="12700"/>
                </a:lnTo>
                <a:lnTo>
                  <a:pt x="1995735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74E989F5-B118-4F46-8856-C79BB54DE1AE}"/>
              </a:ext>
            </a:extLst>
          </p:cNvPr>
          <p:cNvSpPr/>
          <p:nvPr userDrawn="1"/>
        </p:nvSpPr>
        <p:spPr>
          <a:xfrm>
            <a:off x="6364069" y="2068415"/>
            <a:ext cx="2245312" cy="2241076"/>
          </a:xfrm>
          <a:custGeom>
            <a:avLst/>
            <a:gdLst/>
            <a:ahLst/>
            <a:cxnLst/>
            <a:rect l="l" t="t" r="r" b="b"/>
            <a:pathLst>
              <a:path w="3702684" h="3695700">
                <a:moveTo>
                  <a:pt x="2090509" y="3683000"/>
                </a:moveTo>
                <a:lnTo>
                  <a:pt x="1611639" y="3683000"/>
                </a:lnTo>
                <a:lnTo>
                  <a:pt x="1658849" y="3695700"/>
                </a:lnTo>
                <a:lnTo>
                  <a:pt x="2043299" y="3695700"/>
                </a:lnTo>
                <a:lnTo>
                  <a:pt x="2090509" y="3683000"/>
                </a:lnTo>
                <a:close/>
              </a:path>
              <a:path w="3702684" h="3695700">
                <a:moveTo>
                  <a:pt x="2229866" y="3657600"/>
                </a:moveTo>
                <a:lnTo>
                  <a:pt x="1472282" y="3657600"/>
                </a:lnTo>
                <a:lnTo>
                  <a:pt x="1564797" y="3683000"/>
                </a:lnTo>
                <a:lnTo>
                  <a:pt x="2137351" y="3683000"/>
                </a:lnTo>
                <a:lnTo>
                  <a:pt x="2229866" y="3657600"/>
                </a:lnTo>
                <a:close/>
              </a:path>
              <a:path w="3702684" h="3695700">
                <a:moveTo>
                  <a:pt x="2183808" y="25400"/>
                </a:moveTo>
                <a:lnTo>
                  <a:pt x="1518340" y="25400"/>
                </a:lnTo>
                <a:lnTo>
                  <a:pt x="1426638" y="50800"/>
                </a:lnTo>
                <a:lnTo>
                  <a:pt x="1162336" y="127000"/>
                </a:lnTo>
                <a:lnTo>
                  <a:pt x="1120021" y="152400"/>
                </a:lnTo>
                <a:lnTo>
                  <a:pt x="1078243" y="165100"/>
                </a:lnTo>
                <a:lnTo>
                  <a:pt x="1037016" y="190500"/>
                </a:lnTo>
                <a:lnTo>
                  <a:pt x="996357" y="203200"/>
                </a:lnTo>
                <a:lnTo>
                  <a:pt x="916799" y="254000"/>
                </a:lnTo>
                <a:lnTo>
                  <a:pt x="877932" y="279400"/>
                </a:lnTo>
                <a:lnTo>
                  <a:pt x="839693" y="304800"/>
                </a:lnTo>
                <a:lnTo>
                  <a:pt x="802096" y="330200"/>
                </a:lnTo>
                <a:lnTo>
                  <a:pt x="765159" y="355600"/>
                </a:lnTo>
                <a:lnTo>
                  <a:pt x="728895" y="381000"/>
                </a:lnTo>
                <a:lnTo>
                  <a:pt x="693319" y="406400"/>
                </a:lnTo>
                <a:lnTo>
                  <a:pt x="658448" y="431800"/>
                </a:lnTo>
                <a:lnTo>
                  <a:pt x="624297" y="469900"/>
                </a:lnTo>
                <a:lnTo>
                  <a:pt x="590880" y="495300"/>
                </a:lnTo>
                <a:lnTo>
                  <a:pt x="558213" y="520700"/>
                </a:lnTo>
                <a:lnTo>
                  <a:pt x="526311" y="558800"/>
                </a:lnTo>
                <a:lnTo>
                  <a:pt x="495189" y="596900"/>
                </a:lnTo>
                <a:lnTo>
                  <a:pt x="464863" y="622300"/>
                </a:lnTo>
                <a:lnTo>
                  <a:pt x="435347" y="660400"/>
                </a:lnTo>
                <a:lnTo>
                  <a:pt x="406658" y="698500"/>
                </a:lnTo>
                <a:lnTo>
                  <a:pt x="378810" y="723900"/>
                </a:lnTo>
                <a:lnTo>
                  <a:pt x="351819" y="762000"/>
                </a:lnTo>
                <a:lnTo>
                  <a:pt x="325700" y="800100"/>
                </a:lnTo>
                <a:lnTo>
                  <a:pt x="300467" y="838200"/>
                </a:lnTo>
                <a:lnTo>
                  <a:pt x="276137" y="876300"/>
                </a:lnTo>
                <a:lnTo>
                  <a:pt x="252724" y="914400"/>
                </a:lnTo>
                <a:lnTo>
                  <a:pt x="230245" y="952500"/>
                </a:lnTo>
                <a:lnTo>
                  <a:pt x="208713" y="990600"/>
                </a:lnTo>
                <a:lnTo>
                  <a:pt x="188144" y="1041400"/>
                </a:lnTo>
                <a:lnTo>
                  <a:pt x="168554" y="1079500"/>
                </a:lnTo>
                <a:lnTo>
                  <a:pt x="149958" y="1117600"/>
                </a:lnTo>
                <a:lnTo>
                  <a:pt x="132370" y="1168400"/>
                </a:lnTo>
                <a:lnTo>
                  <a:pt x="115807" y="1206500"/>
                </a:lnTo>
                <a:lnTo>
                  <a:pt x="100283" y="1244600"/>
                </a:lnTo>
                <a:lnTo>
                  <a:pt x="85814" y="1295400"/>
                </a:lnTo>
                <a:lnTo>
                  <a:pt x="72415" y="1333500"/>
                </a:lnTo>
                <a:lnTo>
                  <a:pt x="60101" y="1384300"/>
                </a:lnTo>
                <a:lnTo>
                  <a:pt x="48887" y="1422400"/>
                </a:lnTo>
                <a:lnTo>
                  <a:pt x="38790" y="1473200"/>
                </a:lnTo>
                <a:lnTo>
                  <a:pt x="29823" y="1524000"/>
                </a:lnTo>
                <a:lnTo>
                  <a:pt x="22002" y="1562100"/>
                </a:lnTo>
                <a:lnTo>
                  <a:pt x="15342" y="1612900"/>
                </a:lnTo>
                <a:lnTo>
                  <a:pt x="9860" y="1663700"/>
                </a:lnTo>
                <a:lnTo>
                  <a:pt x="5569" y="1701800"/>
                </a:lnTo>
                <a:lnTo>
                  <a:pt x="2485" y="1752600"/>
                </a:lnTo>
                <a:lnTo>
                  <a:pt x="623" y="1803400"/>
                </a:lnTo>
                <a:lnTo>
                  <a:pt x="0" y="1854200"/>
                </a:lnTo>
                <a:lnTo>
                  <a:pt x="623" y="1905000"/>
                </a:lnTo>
                <a:lnTo>
                  <a:pt x="2485" y="1943100"/>
                </a:lnTo>
                <a:lnTo>
                  <a:pt x="5569" y="1993900"/>
                </a:lnTo>
                <a:lnTo>
                  <a:pt x="9860" y="2044700"/>
                </a:lnTo>
                <a:lnTo>
                  <a:pt x="15342" y="2095500"/>
                </a:lnTo>
                <a:lnTo>
                  <a:pt x="22002" y="2133600"/>
                </a:lnTo>
                <a:lnTo>
                  <a:pt x="29823" y="2184400"/>
                </a:lnTo>
                <a:lnTo>
                  <a:pt x="38790" y="2235200"/>
                </a:lnTo>
                <a:lnTo>
                  <a:pt x="48887" y="2273300"/>
                </a:lnTo>
                <a:lnTo>
                  <a:pt x="60101" y="2324100"/>
                </a:lnTo>
                <a:lnTo>
                  <a:pt x="72415" y="2362200"/>
                </a:lnTo>
                <a:lnTo>
                  <a:pt x="85814" y="2413000"/>
                </a:lnTo>
                <a:lnTo>
                  <a:pt x="100283" y="2451100"/>
                </a:lnTo>
                <a:lnTo>
                  <a:pt x="115807" y="2501900"/>
                </a:lnTo>
                <a:lnTo>
                  <a:pt x="132370" y="2540000"/>
                </a:lnTo>
                <a:lnTo>
                  <a:pt x="149958" y="2578100"/>
                </a:lnTo>
                <a:lnTo>
                  <a:pt x="168554" y="2628900"/>
                </a:lnTo>
                <a:lnTo>
                  <a:pt x="188144" y="2667000"/>
                </a:lnTo>
                <a:lnTo>
                  <a:pt x="208713" y="2705100"/>
                </a:lnTo>
                <a:lnTo>
                  <a:pt x="230245" y="2743200"/>
                </a:lnTo>
                <a:lnTo>
                  <a:pt x="252724" y="2781300"/>
                </a:lnTo>
                <a:lnTo>
                  <a:pt x="276137" y="2819400"/>
                </a:lnTo>
                <a:lnTo>
                  <a:pt x="300467" y="2857500"/>
                </a:lnTo>
                <a:lnTo>
                  <a:pt x="325700" y="2895600"/>
                </a:lnTo>
                <a:lnTo>
                  <a:pt x="351819" y="2933700"/>
                </a:lnTo>
                <a:lnTo>
                  <a:pt x="378810" y="2971800"/>
                </a:lnTo>
                <a:lnTo>
                  <a:pt x="406658" y="3009900"/>
                </a:lnTo>
                <a:lnTo>
                  <a:pt x="435347" y="3048000"/>
                </a:lnTo>
                <a:lnTo>
                  <a:pt x="464863" y="3073400"/>
                </a:lnTo>
                <a:lnTo>
                  <a:pt x="495189" y="3111500"/>
                </a:lnTo>
                <a:lnTo>
                  <a:pt x="526311" y="3149600"/>
                </a:lnTo>
                <a:lnTo>
                  <a:pt x="558213" y="3175000"/>
                </a:lnTo>
                <a:lnTo>
                  <a:pt x="590880" y="3213100"/>
                </a:lnTo>
                <a:lnTo>
                  <a:pt x="624297" y="3238500"/>
                </a:lnTo>
                <a:lnTo>
                  <a:pt x="658448" y="3263900"/>
                </a:lnTo>
                <a:lnTo>
                  <a:pt x="693319" y="3289300"/>
                </a:lnTo>
                <a:lnTo>
                  <a:pt x="728895" y="3327400"/>
                </a:lnTo>
                <a:lnTo>
                  <a:pt x="765159" y="3352800"/>
                </a:lnTo>
                <a:lnTo>
                  <a:pt x="802096" y="3378200"/>
                </a:lnTo>
                <a:lnTo>
                  <a:pt x="839693" y="3403600"/>
                </a:lnTo>
                <a:lnTo>
                  <a:pt x="877932" y="3429000"/>
                </a:lnTo>
                <a:lnTo>
                  <a:pt x="916799" y="3454400"/>
                </a:lnTo>
                <a:lnTo>
                  <a:pt x="956279" y="3467100"/>
                </a:lnTo>
                <a:lnTo>
                  <a:pt x="1037016" y="3517900"/>
                </a:lnTo>
                <a:lnTo>
                  <a:pt x="1078243" y="3530600"/>
                </a:lnTo>
                <a:lnTo>
                  <a:pt x="1120021" y="3556000"/>
                </a:lnTo>
                <a:lnTo>
                  <a:pt x="1205172" y="3581400"/>
                </a:lnTo>
                <a:lnTo>
                  <a:pt x="1248514" y="3606800"/>
                </a:lnTo>
                <a:lnTo>
                  <a:pt x="1426638" y="3657600"/>
                </a:lnTo>
                <a:lnTo>
                  <a:pt x="2275510" y="3657600"/>
                </a:lnTo>
                <a:lnTo>
                  <a:pt x="2453634" y="3606800"/>
                </a:lnTo>
                <a:lnTo>
                  <a:pt x="2496976" y="3581400"/>
                </a:lnTo>
                <a:lnTo>
                  <a:pt x="2582127" y="3556000"/>
                </a:lnTo>
                <a:lnTo>
                  <a:pt x="2623905" y="3530600"/>
                </a:lnTo>
                <a:lnTo>
                  <a:pt x="2665132" y="3517900"/>
                </a:lnTo>
                <a:lnTo>
                  <a:pt x="2745869" y="3467100"/>
                </a:lnTo>
                <a:lnTo>
                  <a:pt x="2785349" y="3454400"/>
                </a:lnTo>
                <a:lnTo>
                  <a:pt x="2824216" y="3429000"/>
                </a:lnTo>
                <a:lnTo>
                  <a:pt x="2862456" y="3403600"/>
                </a:lnTo>
                <a:lnTo>
                  <a:pt x="2900052" y="3378200"/>
                </a:lnTo>
                <a:lnTo>
                  <a:pt x="2936989" y="3352800"/>
                </a:lnTo>
                <a:lnTo>
                  <a:pt x="2973254" y="3327400"/>
                </a:lnTo>
                <a:lnTo>
                  <a:pt x="3008829" y="3289300"/>
                </a:lnTo>
                <a:lnTo>
                  <a:pt x="3043700" y="3263900"/>
                </a:lnTo>
                <a:lnTo>
                  <a:pt x="3077851" y="3238500"/>
                </a:lnTo>
                <a:lnTo>
                  <a:pt x="3111268" y="3213100"/>
                </a:lnTo>
                <a:lnTo>
                  <a:pt x="3143936" y="3175000"/>
                </a:lnTo>
                <a:lnTo>
                  <a:pt x="3175838" y="3149600"/>
                </a:lnTo>
                <a:lnTo>
                  <a:pt x="3206959" y="3111500"/>
                </a:lnTo>
                <a:lnTo>
                  <a:pt x="3237285" y="3073400"/>
                </a:lnTo>
                <a:lnTo>
                  <a:pt x="3266801" y="3048000"/>
                </a:lnTo>
                <a:lnTo>
                  <a:pt x="3295490" y="3009900"/>
                </a:lnTo>
                <a:lnTo>
                  <a:pt x="3323338" y="2971800"/>
                </a:lnTo>
                <a:lnTo>
                  <a:pt x="3350329" y="2933700"/>
                </a:lnTo>
                <a:lnTo>
                  <a:pt x="3376448" y="2895600"/>
                </a:lnTo>
                <a:lnTo>
                  <a:pt x="3401681" y="2857500"/>
                </a:lnTo>
                <a:lnTo>
                  <a:pt x="3426011" y="2819400"/>
                </a:lnTo>
                <a:lnTo>
                  <a:pt x="3449424" y="2781300"/>
                </a:lnTo>
                <a:lnTo>
                  <a:pt x="3471904" y="2743200"/>
                </a:lnTo>
                <a:lnTo>
                  <a:pt x="3493435" y="2705100"/>
                </a:lnTo>
                <a:lnTo>
                  <a:pt x="3514004" y="2667000"/>
                </a:lnTo>
                <a:lnTo>
                  <a:pt x="3533594" y="2628900"/>
                </a:lnTo>
                <a:lnTo>
                  <a:pt x="3552191" y="2578100"/>
                </a:lnTo>
                <a:lnTo>
                  <a:pt x="3569778" y="2540000"/>
                </a:lnTo>
                <a:lnTo>
                  <a:pt x="3586341" y="2501900"/>
                </a:lnTo>
                <a:lnTo>
                  <a:pt x="3601865" y="2451100"/>
                </a:lnTo>
                <a:lnTo>
                  <a:pt x="3616334" y="2413000"/>
                </a:lnTo>
                <a:lnTo>
                  <a:pt x="3629733" y="2362200"/>
                </a:lnTo>
                <a:lnTo>
                  <a:pt x="3642047" y="2324100"/>
                </a:lnTo>
                <a:lnTo>
                  <a:pt x="3653261" y="2273300"/>
                </a:lnTo>
                <a:lnTo>
                  <a:pt x="3663358" y="2235200"/>
                </a:lnTo>
                <a:lnTo>
                  <a:pt x="3672325" y="2184400"/>
                </a:lnTo>
                <a:lnTo>
                  <a:pt x="3680146" y="2133600"/>
                </a:lnTo>
                <a:lnTo>
                  <a:pt x="3686806" y="2095500"/>
                </a:lnTo>
                <a:lnTo>
                  <a:pt x="3692288" y="2044700"/>
                </a:lnTo>
                <a:lnTo>
                  <a:pt x="3696579" y="1993900"/>
                </a:lnTo>
                <a:lnTo>
                  <a:pt x="3699663" y="1943100"/>
                </a:lnTo>
                <a:lnTo>
                  <a:pt x="3701525" y="1905000"/>
                </a:lnTo>
                <a:lnTo>
                  <a:pt x="3702149" y="1854200"/>
                </a:lnTo>
                <a:lnTo>
                  <a:pt x="3701525" y="1803400"/>
                </a:lnTo>
                <a:lnTo>
                  <a:pt x="3699663" y="1752600"/>
                </a:lnTo>
                <a:lnTo>
                  <a:pt x="3696579" y="1701800"/>
                </a:lnTo>
                <a:lnTo>
                  <a:pt x="3692288" y="1663700"/>
                </a:lnTo>
                <a:lnTo>
                  <a:pt x="3686806" y="1612900"/>
                </a:lnTo>
                <a:lnTo>
                  <a:pt x="3680146" y="1562100"/>
                </a:lnTo>
                <a:lnTo>
                  <a:pt x="3672325" y="1524000"/>
                </a:lnTo>
                <a:lnTo>
                  <a:pt x="3663358" y="1473200"/>
                </a:lnTo>
                <a:lnTo>
                  <a:pt x="3653261" y="1422400"/>
                </a:lnTo>
                <a:lnTo>
                  <a:pt x="3642047" y="1384300"/>
                </a:lnTo>
                <a:lnTo>
                  <a:pt x="3629733" y="1333500"/>
                </a:lnTo>
                <a:lnTo>
                  <a:pt x="3616334" y="1295400"/>
                </a:lnTo>
                <a:lnTo>
                  <a:pt x="3601865" y="1244600"/>
                </a:lnTo>
                <a:lnTo>
                  <a:pt x="3586341" y="1206500"/>
                </a:lnTo>
                <a:lnTo>
                  <a:pt x="3569778" y="1168400"/>
                </a:lnTo>
                <a:lnTo>
                  <a:pt x="3552191" y="1117600"/>
                </a:lnTo>
                <a:lnTo>
                  <a:pt x="3533594" y="1079500"/>
                </a:lnTo>
                <a:lnTo>
                  <a:pt x="3514004" y="1041400"/>
                </a:lnTo>
                <a:lnTo>
                  <a:pt x="3493435" y="990600"/>
                </a:lnTo>
                <a:lnTo>
                  <a:pt x="3471904" y="952500"/>
                </a:lnTo>
                <a:lnTo>
                  <a:pt x="3449424" y="914400"/>
                </a:lnTo>
                <a:lnTo>
                  <a:pt x="3426011" y="876300"/>
                </a:lnTo>
                <a:lnTo>
                  <a:pt x="3401681" y="838200"/>
                </a:lnTo>
                <a:lnTo>
                  <a:pt x="3376448" y="800100"/>
                </a:lnTo>
                <a:lnTo>
                  <a:pt x="3350329" y="762000"/>
                </a:lnTo>
                <a:lnTo>
                  <a:pt x="3323338" y="723900"/>
                </a:lnTo>
                <a:lnTo>
                  <a:pt x="3295490" y="698500"/>
                </a:lnTo>
                <a:lnTo>
                  <a:pt x="3266801" y="660400"/>
                </a:lnTo>
                <a:lnTo>
                  <a:pt x="3237285" y="622300"/>
                </a:lnTo>
                <a:lnTo>
                  <a:pt x="3206959" y="596900"/>
                </a:lnTo>
                <a:lnTo>
                  <a:pt x="3175838" y="558800"/>
                </a:lnTo>
                <a:lnTo>
                  <a:pt x="3143936" y="520700"/>
                </a:lnTo>
                <a:lnTo>
                  <a:pt x="3111268" y="495300"/>
                </a:lnTo>
                <a:lnTo>
                  <a:pt x="3077851" y="469900"/>
                </a:lnTo>
                <a:lnTo>
                  <a:pt x="3043700" y="431800"/>
                </a:lnTo>
                <a:lnTo>
                  <a:pt x="3008829" y="406400"/>
                </a:lnTo>
                <a:lnTo>
                  <a:pt x="2973254" y="381000"/>
                </a:lnTo>
                <a:lnTo>
                  <a:pt x="2936989" y="355600"/>
                </a:lnTo>
                <a:lnTo>
                  <a:pt x="2900052" y="330200"/>
                </a:lnTo>
                <a:lnTo>
                  <a:pt x="2862456" y="304800"/>
                </a:lnTo>
                <a:lnTo>
                  <a:pt x="2824216" y="279400"/>
                </a:lnTo>
                <a:lnTo>
                  <a:pt x="2785349" y="254000"/>
                </a:lnTo>
                <a:lnTo>
                  <a:pt x="2705791" y="203200"/>
                </a:lnTo>
                <a:lnTo>
                  <a:pt x="2665132" y="190500"/>
                </a:lnTo>
                <a:lnTo>
                  <a:pt x="2623905" y="165100"/>
                </a:lnTo>
                <a:lnTo>
                  <a:pt x="2582127" y="152400"/>
                </a:lnTo>
                <a:lnTo>
                  <a:pt x="2539812" y="127000"/>
                </a:lnTo>
                <a:lnTo>
                  <a:pt x="2275510" y="50800"/>
                </a:lnTo>
                <a:lnTo>
                  <a:pt x="2183808" y="25400"/>
                </a:lnTo>
                <a:close/>
              </a:path>
              <a:path w="3702684" h="3695700">
                <a:moveTo>
                  <a:pt x="2090509" y="12700"/>
                </a:moveTo>
                <a:lnTo>
                  <a:pt x="1611639" y="12700"/>
                </a:lnTo>
                <a:lnTo>
                  <a:pt x="1564797" y="25400"/>
                </a:lnTo>
                <a:lnTo>
                  <a:pt x="2137351" y="25400"/>
                </a:lnTo>
                <a:lnTo>
                  <a:pt x="2090509" y="12700"/>
                </a:lnTo>
                <a:close/>
              </a:path>
              <a:path w="3702684" h="3695700">
                <a:moveTo>
                  <a:pt x="1995735" y="0"/>
                </a:moveTo>
                <a:lnTo>
                  <a:pt x="1706413" y="0"/>
                </a:lnTo>
                <a:lnTo>
                  <a:pt x="1658849" y="12700"/>
                </a:lnTo>
                <a:lnTo>
                  <a:pt x="2043299" y="12700"/>
                </a:lnTo>
                <a:lnTo>
                  <a:pt x="1995735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80D1F6D-7D1B-49DE-BE52-531034D79A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306327"/>
            <a:ext cx="5577108" cy="55403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46FE390E-11E8-4941-9C12-B4E0F8E969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345" y="4584141"/>
            <a:ext cx="2444917" cy="61833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91EB4381-ED71-4124-8DF9-C60406EF36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48329" y="4584141"/>
            <a:ext cx="2514542" cy="61833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F78CC823-CBB8-4431-BA6D-16E62CFC429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9131" y="4584140"/>
            <a:ext cx="2514542" cy="61833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9F0F4E4C-1590-40D6-9009-9D1D27674E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10578" y="4584139"/>
            <a:ext cx="2514542" cy="61833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A7FA69E6-5C7B-F8DE-6F67-4BDA7AFF24D7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3754395" y="2239866"/>
            <a:ext cx="1915550" cy="1911936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26745B24-1A74-4CB1-88CB-3A2ABC5D5447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535197" y="2239866"/>
            <a:ext cx="1915550" cy="1911936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8F69C9D3-57E5-367E-62ED-E503120B29F0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9315999" y="2239866"/>
            <a:ext cx="1915550" cy="1911936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0FE6E5ED-D573-8BF8-040E-EE3D63E44E2F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972946" y="2239866"/>
            <a:ext cx="1915550" cy="1911936"/>
          </a:xfrm>
          <a:prstGeom prst="ellipse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Номер слайда 5">
            <a:extLst>
              <a:ext uri="{FF2B5EF4-FFF2-40B4-BE49-F238E27FC236}">
                <a16:creationId xmlns:a16="http://schemas.microsoft.com/office/drawing/2014/main" id="{9122BD28-8E3E-C462-D781-7E37AF1731B9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642283-1091-2C6F-894B-F3E41D9EFD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46342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Horisont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">
            <a:extLst>
              <a:ext uri="{FF2B5EF4-FFF2-40B4-BE49-F238E27FC236}">
                <a16:creationId xmlns:a16="http://schemas.microsoft.com/office/drawing/2014/main" id="{E4FD2CFF-0F3D-42BB-BBFF-903727B32640}"/>
              </a:ext>
            </a:extLst>
          </p:cNvPr>
          <p:cNvSpPr/>
          <p:nvPr userDrawn="1"/>
        </p:nvSpPr>
        <p:spPr>
          <a:xfrm>
            <a:off x="0" y="1562188"/>
            <a:ext cx="12192000" cy="2359660"/>
          </a:xfrm>
          <a:custGeom>
            <a:avLst/>
            <a:gdLst/>
            <a:ahLst/>
            <a:cxnLst/>
            <a:rect l="l" t="t" r="r" b="b"/>
            <a:pathLst>
              <a:path w="11269980" h="2359660">
                <a:moveTo>
                  <a:pt x="0" y="2359152"/>
                </a:moveTo>
                <a:lnTo>
                  <a:pt x="11269980" y="2359152"/>
                </a:lnTo>
                <a:lnTo>
                  <a:pt x="11269980" y="0"/>
                </a:lnTo>
                <a:lnTo>
                  <a:pt x="0" y="0"/>
                </a:lnTo>
                <a:lnTo>
                  <a:pt x="0" y="235915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647ABC-6745-43B6-8A64-6E191BD65C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4133087"/>
            <a:ext cx="10431780" cy="2043875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A23118C-882F-4024-74BB-A07F51631072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4E9FF4-A456-02D2-E564-35CD0500E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202137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Horisont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">
            <a:extLst>
              <a:ext uri="{FF2B5EF4-FFF2-40B4-BE49-F238E27FC236}">
                <a16:creationId xmlns:a16="http://schemas.microsoft.com/office/drawing/2014/main" id="{E4FD2CFF-0F3D-42BB-BBFF-903727B32640}"/>
              </a:ext>
            </a:extLst>
          </p:cNvPr>
          <p:cNvSpPr/>
          <p:nvPr userDrawn="1"/>
        </p:nvSpPr>
        <p:spPr>
          <a:xfrm>
            <a:off x="0" y="1562188"/>
            <a:ext cx="12192000" cy="2359660"/>
          </a:xfrm>
          <a:custGeom>
            <a:avLst/>
            <a:gdLst/>
            <a:ahLst/>
            <a:cxnLst/>
            <a:rect l="l" t="t" r="r" b="b"/>
            <a:pathLst>
              <a:path w="11269980" h="2359660">
                <a:moveTo>
                  <a:pt x="0" y="2359152"/>
                </a:moveTo>
                <a:lnTo>
                  <a:pt x="11269980" y="2359152"/>
                </a:lnTo>
                <a:lnTo>
                  <a:pt x="11269980" y="0"/>
                </a:lnTo>
                <a:lnTo>
                  <a:pt x="0" y="0"/>
                </a:lnTo>
                <a:lnTo>
                  <a:pt x="0" y="235915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647ABC-6745-43B6-8A64-6E191BD65C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4133087"/>
            <a:ext cx="10431780" cy="2043875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1B0D46C-2987-401A-A0C4-CFB6F73E9D23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44296" y="1788579"/>
            <a:ext cx="10425684" cy="1906878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2BED5BB-AC1F-B118-9AED-218F04B7CC5F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AB47BD-F3D4-1ACA-C5D5-2F5F6C6AA5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88497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8">
            <a:extLst>
              <a:ext uri="{FF2B5EF4-FFF2-40B4-BE49-F238E27FC236}">
                <a16:creationId xmlns:a16="http://schemas.microsoft.com/office/drawing/2014/main" id="{F0F8E384-BA0F-483E-9461-E3EC6B643943}"/>
              </a:ext>
            </a:extLst>
          </p:cNvPr>
          <p:cNvSpPr txBox="1"/>
          <p:nvPr userDrawn="1"/>
        </p:nvSpPr>
        <p:spPr>
          <a:xfrm>
            <a:off x="747821" y="4903158"/>
            <a:ext cx="2467109" cy="675015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200619" rIns="0" bIns="0" rtlCol="0">
            <a:noAutofit/>
          </a:bodyPr>
          <a:lstStyle/>
          <a:p>
            <a:pPr algn="ctr" defTabSz="554492">
              <a:spcBef>
                <a:spcPts val="1580"/>
              </a:spcBef>
            </a:pPr>
            <a:endParaRPr sz="1243" dirty="0">
              <a:solidFill>
                <a:schemeClr val="tx1"/>
              </a:solidFill>
              <a:cs typeface="Source Sans Pro"/>
            </a:endParaRPr>
          </a:p>
        </p:txBody>
      </p:sp>
      <p:sp>
        <p:nvSpPr>
          <p:cNvPr id="13" name="object 9">
            <a:extLst>
              <a:ext uri="{FF2B5EF4-FFF2-40B4-BE49-F238E27FC236}">
                <a16:creationId xmlns:a16="http://schemas.microsoft.com/office/drawing/2014/main" id="{6DD294EC-C0DE-4430-B77F-EE254236A40F}"/>
              </a:ext>
            </a:extLst>
          </p:cNvPr>
          <p:cNvSpPr txBox="1"/>
          <p:nvPr userDrawn="1"/>
        </p:nvSpPr>
        <p:spPr>
          <a:xfrm>
            <a:off x="8977110" y="4903158"/>
            <a:ext cx="2467109" cy="675015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200619" rIns="0" bIns="0" rtlCol="0">
            <a:noAutofit/>
          </a:bodyPr>
          <a:lstStyle/>
          <a:p>
            <a:pPr algn="ctr" defTabSz="554492">
              <a:spcBef>
                <a:spcPts val="1580"/>
              </a:spcBef>
            </a:pPr>
            <a:endParaRPr sz="1243" dirty="0">
              <a:solidFill>
                <a:schemeClr val="tx1"/>
              </a:solidFill>
              <a:cs typeface="Source Sans Pro"/>
            </a:endParaRPr>
          </a:p>
        </p:txBody>
      </p:sp>
      <p:sp>
        <p:nvSpPr>
          <p:cNvPr id="14" name="object 10">
            <a:extLst>
              <a:ext uri="{FF2B5EF4-FFF2-40B4-BE49-F238E27FC236}">
                <a16:creationId xmlns:a16="http://schemas.microsoft.com/office/drawing/2014/main" id="{1C160D20-36F8-4387-8BE4-B535FF06935F}"/>
              </a:ext>
            </a:extLst>
          </p:cNvPr>
          <p:cNvSpPr txBox="1"/>
          <p:nvPr userDrawn="1"/>
        </p:nvSpPr>
        <p:spPr>
          <a:xfrm>
            <a:off x="6234014" y="4903158"/>
            <a:ext cx="2467109" cy="675015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200619" rIns="0" bIns="0" rtlCol="0">
            <a:noAutofit/>
          </a:bodyPr>
          <a:lstStyle/>
          <a:p>
            <a:pPr algn="ctr" defTabSz="554492">
              <a:spcBef>
                <a:spcPts val="1580"/>
              </a:spcBef>
            </a:pPr>
            <a:endParaRPr sz="1243" dirty="0">
              <a:solidFill>
                <a:schemeClr val="tx1"/>
              </a:solidFill>
              <a:cs typeface="Source Sans Pro"/>
            </a:endParaRPr>
          </a:p>
        </p:txBody>
      </p:sp>
      <p:sp>
        <p:nvSpPr>
          <p:cNvPr id="15" name="object 11">
            <a:extLst>
              <a:ext uri="{FF2B5EF4-FFF2-40B4-BE49-F238E27FC236}">
                <a16:creationId xmlns:a16="http://schemas.microsoft.com/office/drawing/2014/main" id="{F20EAADE-3E36-4598-92AE-0AF59AB9D1B3}"/>
              </a:ext>
            </a:extLst>
          </p:cNvPr>
          <p:cNvSpPr txBox="1"/>
          <p:nvPr userDrawn="1"/>
        </p:nvSpPr>
        <p:spPr>
          <a:xfrm>
            <a:off x="3490918" y="4903158"/>
            <a:ext cx="2467109" cy="675015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200619" rIns="0" bIns="0" rtlCol="0">
            <a:noAutofit/>
          </a:bodyPr>
          <a:lstStyle/>
          <a:p>
            <a:pPr algn="ctr" defTabSz="554492">
              <a:spcBef>
                <a:spcPts val="1580"/>
              </a:spcBef>
            </a:pPr>
            <a:endParaRPr sz="1243" dirty="0">
              <a:solidFill>
                <a:schemeClr val="tx1"/>
              </a:solidFill>
              <a:cs typeface="Source Sans Pro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CFFFA7-A495-42B8-972F-58820F63E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4489" y="1292873"/>
            <a:ext cx="8315360" cy="94389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1800" kern="1200" spc="-6" dirty="0" smtClean="0">
                <a:solidFill>
                  <a:srgbClr val="000000"/>
                </a:solidFill>
                <a:latin typeface="+mn-lt"/>
                <a:ea typeface="+mn-ea"/>
                <a:cs typeface="Source Sans Pro"/>
              </a:defRPr>
            </a:lvl1pPr>
            <a:lvl2pPr marL="4572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2pPr>
            <a:lvl3pPr marL="9144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3pPr>
            <a:lvl4pPr marL="13716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4pPr>
            <a:lvl5pPr marL="1828800" indent="0">
              <a:buNone/>
              <a:defRPr lang="ru-RU" sz="1243" kern="1200" spc="-6" dirty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8C169C6-267D-4763-95C6-01AA5ABE51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7916" y="2401258"/>
            <a:ext cx="2466975" cy="25019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Picture Placeholder 18">
            <a:extLst>
              <a:ext uri="{FF2B5EF4-FFF2-40B4-BE49-F238E27FC236}">
                <a16:creationId xmlns:a16="http://schemas.microsoft.com/office/drawing/2014/main" id="{C2CEC0E1-F995-4AA5-9DD2-8945E53AAC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91012" y="2410783"/>
            <a:ext cx="2466975" cy="25019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21" name="Picture Placeholder 18">
            <a:extLst>
              <a:ext uri="{FF2B5EF4-FFF2-40B4-BE49-F238E27FC236}">
                <a16:creationId xmlns:a16="http://schemas.microsoft.com/office/drawing/2014/main" id="{C8F1422E-F9AF-4104-9DEC-B4306C20FCC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33974" y="2410783"/>
            <a:ext cx="2466975" cy="25019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22" name="Picture Placeholder 18">
            <a:extLst>
              <a:ext uri="{FF2B5EF4-FFF2-40B4-BE49-F238E27FC236}">
                <a16:creationId xmlns:a16="http://schemas.microsoft.com/office/drawing/2014/main" id="{EF82E5E4-9C9A-42E5-877F-335826BC2AC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77176" y="2410783"/>
            <a:ext cx="2466975" cy="25019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F52AF17-A254-40F1-9D31-ABE04371E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90764" y="4927518"/>
            <a:ext cx="2467223" cy="622079"/>
          </a:xfrm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3014E504-F2ED-4E29-9102-7C85CEF8F23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33867" y="4903158"/>
            <a:ext cx="2467223" cy="622079"/>
          </a:xfrm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372D190A-0E0E-4CF3-85E8-BCED0A52C1D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76822" y="4912683"/>
            <a:ext cx="2467223" cy="622079"/>
          </a:xfrm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BBE15F57-D114-436E-9E07-59D18560FF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7781" y="4930999"/>
            <a:ext cx="2467223" cy="622079"/>
          </a:xfrm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Номер слайда 5">
            <a:extLst>
              <a:ext uri="{FF2B5EF4-FFF2-40B4-BE49-F238E27FC236}">
                <a16:creationId xmlns:a16="http://schemas.microsoft.com/office/drawing/2014/main" id="{A15A338F-FB41-7675-F4F2-00ADE689EC14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16F906-6890-42DD-FBAF-3016D80ABB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387265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6C514FF2-FEBC-4C97-8C75-E7ECEF0C45A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095668" y="2176792"/>
            <a:ext cx="2674937" cy="205898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F3569BE6-FC2B-4691-9173-8AFA58423EE8}"/>
              </a:ext>
            </a:extLst>
          </p:cNvPr>
          <p:cNvSpPr/>
          <p:nvPr userDrawn="1"/>
        </p:nvSpPr>
        <p:spPr>
          <a:xfrm>
            <a:off x="3421911" y="2187733"/>
            <a:ext cx="2674273" cy="2048158"/>
          </a:xfrm>
          <a:custGeom>
            <a:avLst/>
            <a:gdLst/>
            <a:ahLst/>
            <a:cxnLst/>
            <a:rect l="l" t="t" r="r" b="b"/>
            <a:pathLst>
              <a:path w="4410075" h="3377565">
                <a:moveTo>
                  <a:pt x="4409771" y="0"/>
                </a:moveTo>
                <a:lnTo>
                  <a:pt x="0" y="0"/>
                </a:lnTo>
                <a:lnTo>
                  <a:pt x="0" y="3377394"/>
                </a:lnTo>
                <a:lnTo>
                  <a:pt x="4409771" y="3377394"/>
                </a:lnTo>
                <a:lnTo>
                  <a:pt x="4409771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800">
              <a:solidFill>
                <a:prstClr val="black"/>
              </a:solidFill>
            </a:endParaRP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23C2EF06-F742-4E23-82FF-FF7025892C01}"/>
              </a:ext>
            </a:extLst>
          </p:cNvPr>
          <p:cNvSpPr/>
          <p:nvPr userDrawn="1"/>
        </p:nvSpPr>
        <p:spPr>
          <a:xfrm>
            <a:off x="8770090" y="2187733"/>
            <a:ext cx="2674273" cy="2048158"/>
          </a:xfrm>
          <a:custGeom>
            <a:avLst/>
            <a:gdLst/>
            <a:ahLst/>
            <a:cxnLst/>
            <a:rect l="l" t="t" r="r" b="b"/>
            <a:pathLst>
              <a:path w="4410075" h="3377565">
                <a:moveTo>
                  <a:pt x="4409771" y="0"/>
                </a:moveTo>
                <a:lnTo>
                  <a:pt x="0" y="0"/>
                </a:lnTo>
                <a:lnTo>
                  <a:pt x="0" y="3377394"/>
                </a:lnTo>
                <a:lnTo>
                  <a:pt x="4409771" y="3377394"/>
                </a:lnTo>
                <a:lnTo>
                  <a:pt x="4409771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800">
              <a:solidFill>
                <a:prstClr val="black"/>
              </a:solidFill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8F1F3CE2-E9B3-4BDE-9326-F58E8208043E}"/>
              </a:ext>
            </a:extLst>
          </p:cNvPr>
          <p:cNvSpPr/>
          <p:nvPr userDrawn="1"/>
        </p:nvSpPr>
        <p:spPr>
          <a:xfrm>
            <a:off x="747821" y="4235782"/>
            <a:ext cx="2674273" cy="2048158"/>
          </a:xfrm>
          <a:custGeom>
            <a:avLst/>
            <a:gdLst/>
            <a:ahLst/>
            <a:cxnLst/>
            <a:rect l="l" t="t" r="r" b="b"/>
            <a:pathLst>
              <a:path w="4410075" h="3377565">
                <a:moveTo>
                  <a:pt x="4409771" y="0"/>
                </a:moveTo>
                <a:lnTo>
                  <a:pt x="0" y="0"/>
                </a:lnTo>
                <a:lnTo>
                  <a:pt x="0" y="3377405"/>
                </a:lnTo>
                <a:lnTo>
                  <a:pt x="4409771" y="3377405"/>
                </a:lnTo>
                <a:lnTo>
                  <a:pt x="4409771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800">
              <a:solidFill>
                <a:prstClr val="black"/>
              </a:solidFill>
            </a:endParaRPr>
          </a:p>
        </p:txBody>
      </p:sp>
      <p:sp>
        <p:nvSpPr>
          <p:cNvPr id="9" name="object 5">
            <a:extLst>
              <a:ext uri="{FF2B5EF4-FFF2-40B4-BE49-F238E27FC236}">
                <a16:creationId xmlns:a16="http://schemas.microsoft.com/office/drawing/2014/main" id="{B17EC6F7-63AC-4000-A83C-30048E8B12D0}"/>
              </a:ext>
            </a:extLst>
          </p:cNvPr>
          <p:cNvSpPr/>
          <p:nvPr userDrawn="1"/>
        </p:nvSpPr>
        <p:spPr>
          <a:xfrm>
            <a:off x="6096001" y="4235782"/>
            <a:ext cx="2674273" cy="2048158"/>
          </a:xfrm>
          <a:custGeom>
            <a:avLst/>
            <a:gdLst/>
            <a:ahLst/>
            <a:cxnLst/>
            <a:rect l="l" t="t" r="r" b="b"/>
            <a:pathLst>
              <a:path w="4410075" h="3377565">
                <a:moveTo>
                  <a:pt x="4409771" y="0"/>
                </a:moveTo>
                <a:lnTo>
                  <a:pt x="0" y="0"/>
                </a:lnTo>
                <a:lnTo>
                  <a:pt x="0" y="3377405"/>
                </a:lnTo>
                <a:lnTo>
                  <a:pt x="4409771" y="3377405"/>
                </a:lnTo>
                <a:lnTo>
                  <a:pt x="4409771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800">
              <a:solidFill>
                <a:prstClr val="black"/>
              </a:solidFill>
            </a:endParaRP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46F9E776-E814-45ED-97AD-30329D1835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604977"/>
            <a:ext cx="8366160" cy="57170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lang="en-US" sz="1243" kern="1200" spc="-6" dirty="0" smtClean="0">
                <a:solidFill>
                  <a:srgbClr val="000000"/>
                </a:solidFill>
                <a:latin typeface="+mn-lt"/>
                <a:ea typeface="+mn-ea"/>
                <a:cs typeface="Source Sans Pro"/>
              </a:defRPr>
            </a:lvl1pPr>
            <a:lvl2pPr marL="4572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2pPr>
            <a:lvl3pPr marL="9144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3pPr>
            <a:lvl4pPr marL="13716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4pPr>
            <a:lvl5pPr marL="1828800" indent="0">
              <a:buNone/>
              <a:defRPr lang="ru-RU" sz="1243" kern="1200" spc="-6" dirty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E0260DC6-3CE2-4B74-AC46-776AAB409A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6444" y="4354145"/>
            <a:ext cx="2467223" cy="1279273"/>
          </a:xfrm>
        </p:spPr>
        <p:txBody>
          <a:bodyPr>
            <a:noAutofit/>
          </a:bodyPr>
          <a:lstStyle>
            <a:lvl1pPr marL="0" indent="0" algn="l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27280125-7613-4591-AD34-EB46501A5B6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25345" y="2380419"/>
            <a:ext cx="2467223" cy="1279273"/>
          </a:xfrm>
        </p:spPr>
        <p:txBody>
          <a:bodyPr>
            <a:noAutofit/>
          </a:bodyPr>
          <a:lstStyle>
            <a:lvl1pPr marL="0" indent="0" algn="l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014CB92-7FD0-4345-A3E7-FEA0C2498C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899251" y="2363798"/>
            <a:ext cx="2467223" cy="1279273"/>
          </a:xfrm>
        </p:spPr>
        <p:txBody>
          <a:bodyPr>
            <a:noAutofit/>
          </a:bodyPr>
          <a:lstStyle>
            <a:lvl1pPr marL="0" indent="0" algn="l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58F1053D-EACA-4A2E-B732-FD45888FE54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2672" y="4365034"/>
            <a:ext cx="2467223" cy="1279273"/>
          </a:xfrm>
        </p:spPr>
        <p:txBody>
          <a:bodyPr>
            <a:noAutofit/>
          </a:bodyPr>
          <a:lstStyle>
            <a:lvl1pPr marL="0" indent="0" algn="l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Picture Placeholder 30">
            <a:extLst>
              <a:ext uri="{FF2B5EF4-FFF2-40B4-BE49-F238E27FC236}">
                <a16:creationId xmlns:a16="http://schemas.microsoft.com/office/drawing/2014/main" id="{72DEA232-BE2B-40B3-B029-9D93187D7BB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46218" y="2187560"/>
            <a:ext cx="2674937" cy="205898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3" name="Picture Placeholder 30">
            <a:extLst>
              <a:ext uri="{FF2B5EF4-FFF2-40B4-BE49-F238E27FC236}">
                <a16:creationId xmlns:a16="http://schemas.microsoft.com/office/drawing/2014/main" id="{27AA07FE-3B8D-451E-8D8C-465FEFC1F88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412990" y="4235750"/>
            <a:ext cx="2674937" cy="205898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34" name="Picture Placeholder 30">
            <a:extLst>
              <a:ext uri="{FF2B5EF4-FFF2-40B4-BE49-F238E27FC236}">
                <a16:creationId xmlns:a16="http://schemas.microsoft.com/office/drawing/2014/main" id="{ED9A5B4B-E492-426E-B609-D3D7D70E5E0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774581" y="4235750"/>
            <a:ext cx="2674937" cy="205898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22" name="Номер слайда 5">
            <a:extLst>
              <a:ext uri="{FF2B5EF4-FFF2-40B4-BE49-F238E27FC236}">
                <a16:creationId xmlns:a16="http://schemas.microsoft.com/office/drawing/2014/main" id="{106BF93E-FAAE-E207-E158-179780306F80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B513A6-F077-218D-805A-54A1E89908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9654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h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29F16048-FF4E-41B1-B3D4-0FB210A70DF2}"/>
              </a:ext>
            </a:extLst>
          </p:cNvPr>
          <p:cNvSpPr/>
          <p:nvPr userDrawn="1"/>
        </p:nvSpPr>
        <p:spPr>
          <a:xfrm>
            <a:off x="5294630" y="0"/>
            <a:ext cx="6897370" cy="6858000"/>
          </a:xfrm>
          <a:custGeom>
            <a:avLst/>
            <a:gdLst/>
            <a:ahLst/>
            <a:cxnLst/>
            <a:rect l="l" t="t" r="r" b="b"/>
            <a:pathLst>
              <a:path w="6897370" h="6858000">
                <a:moveTo>
                  <a:pt x="0" y="6858000"/>
                </a:moveTo>
                <a:lnTo>
                  <a:pt x="6896900" y="6858000"/>
                </a:lnTo>
                <a:lnTo>
                  <a:pt x="68969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79774D-36EB-4201-B1AC-922DD2E066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265674" y="1654915"/>
            <a:ext cx="4505011" cy="1293309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F16274B9-B590-4928-93BB-3F16660C59B0}"/>
              </a:ext>
            </a:extLst>
          </p:cNvPr>
          <p:cNvSpPr>
            <a:spLocks noGrp="1"/>
          </p:cNvSpPr>
          <p:nvPr>
            <p:ph type="body" sz="half" idx="28"/>
          </p:nvPr>
        </p:nvSpPr>
        <p:spPr>
          <a:xfrm>
            <a:off x="7265674" y="3517137"/>
            <a:ext cx="4505011" cy="1293309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F788AEE-6442-48C7-8B7E-0E2BA805798A}"/>
              </a:ext>
            </a:extLst>
          </p:cNvPr>
          <p:cNvSpPr>
            <a:spLocks noGrp="1"/>
          </p:cNvSpPr>
          <p:nvPr>
            <p:ph type="body" sz="half" idx="30"/>
          </p:nvPr>
        </p:nvSpPr>
        <p:spPr>
          <a:xfrm>
            <a:off x="7265674" y="5379828"/>
            <a:ext cx="4505011" cy="1293309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83DE9FA-A9C9-459F-B2A3-FB4D22561B7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265674" y="1105556"/>
            <a:ext cx="4926326" cy="472851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200" b="1" smtClean="0">
                <a:solidFill>
                  <a:schemeClr val="tx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>
              <a:lnSpc>
                <a:spcPct val="110000"/>
              </a:lnSpc>
              <a:spcBef>
                <a:spcPts val="400"/>
              </a:spcBef>
            </a:pPr>
            <a:r>
              <a:rPr lang="en-US" dirty="0"/>
              <a:t>Click to edit Master text styles</a:t>
            </a:r>
            <a:endParaRPr lang="ru-RU" dirty="0"/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358EBB5F-6AA2-4C8A-ACAD-2166AC15AAB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256149" y="2947755"/>
            <a:ext cx="4926326" cy="472851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Tx/>
              <a:buNone/>
              <a:defRPr lang="en-US" sz="2200" b="1" smtClean="0">
                <a:solidFill>
                  <a:schemeClr val="tx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>
              <a:lnSpc>
                <a:spcPct val="110000"/>
              </a:lnSpc>
              <a:spcBef>
                <a:spcPts val="400"/>
              </a:spcBef>
            </a:pPr>
            <a:r>
              <a:rPr lang="en-US" dirty="0"/>
              <a:t>Click to edit Master text styles</a:t>
            </a:r>
            <a:endParaRPr lang="ru-RU" dirty="0"/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4E98494D-DF8F-43EC-BF3C-976DB4560B8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256149" y="4824901"/>
            <a:ext cx="4926326" cy="472851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Tx/>
              <a:buNone/>
              <a:defRPr lang="en-US" sz="2200" b="1" smtClean="0">
                <a:solidFill>
                  <a:schemeClr val="tx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>
              <a:lnSpc>
                <a:spcPct val="110000"/>
              </a:lnSpc>
              <a:spcBef>
                <a:spcPts val="400"/>
              </a:spcBef>
            </a:pPr>
            <a:r>
              <a:rPr lang="en-US" dirty="0"/>
              <a:t>Click to edit Master text styles</a:t>
            </a:r>
            <a:endParaRPr lang="ru-RU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70E03C1-BA5E-06B1-76B1-5395C7BC6075}"/>
              </a:ext>
            </a:extLst>
          </p:cNvPr>
          <p:cNvGrpSpPr/>
          <p:nvPr userDrawn="1"/>
        </p:nvGrpSpPr>
        <p:grpSpPr>
          <a:xfrm>
            <a:off x="6571237" y="1182404"/>
            <a:ext cx="396003" cy="396003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50AA3AE-E0DD-6E1D-87E2-1402CB565BBA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EB57DC9-BC3F-19A7-40D1-B94AE32A5363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BE6F55BC-7FEA-20A2-5CCF-5EB40BE69EFB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0B9FCCA0-192A-EC67-35E4-7A7AE139033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A4A0FD6-C3EC-3F43-4490-E2A704F7CEFA}"/>
              </a:ext>
            </a:extLst>
          </p:cNvPr>
          <p:cNvGrpSpPr/>
          <p:nvPr userDrawn="1"/>
        </p:nvGrpSpPr>
        <p:grpSpPr>
          <a:xfrm>
            <a:off x="6571237" y="3051820"/>
            <a:ext cx="396003" cy="396003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84B927D-64DB-435B-5DB9-34225DEB8633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558FEDA9-C181-6E79-57BD-6487574D30E6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64C969C4-4045-CD3D-4972-EC2FD7FB39DB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B5F1144F-C577-6D73-8A1B-EB2B96BF8BC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6715A5C-2530-EFF4-8BC9-2ABE72AF45DF}"/>
              </a:ext>
            </a:extLst>
          </p:cNvPr>
          <p:cNvGrpSpPr/>
          <p:nvPr userDrawn="1"/>
        </p:nvGrpSpPr>
        <p:grpSpPr>
          <a:xfrm>
            <a:off x="6562690" y="4914899"/>
            <a:ext cx="396003" cy="396003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DC147EEC-7502-7F3A-C6A3-ACBFA29428DE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63189DF1-5BE0-651F-8E87-FDDD59B736BD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C71CF50E-749A-0835-23D2-928769651A40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B3986CBD-E290-14DB-C222-4CBECE12FB4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7BD0B50-8D97-9AB5-A593-BC25EE77478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7213" y="2647950"/>
            <a:ext cx="3871912" cy="3009900"/>
          </a:xfrm>
        </p:spPr>
        <p:txBody>
          <a:bodyPr>
            <a:noAutofit/>
          </a:bodyPr>
          <a:lstStyle>
            <a:lvl1pPr marL="228600" indent="-228600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9" name="Номер слайда 5">
            <a:extLst>
              <a:ext uri="{FF2B5EF4-FFF2-40B4-BE49-F238E27FC236}">
                <a16:creationId xmlns:a16="http://schemas.microsoft.com/office/drawing/2014/main" id="{29BC5417-019A-A081-FC19-1EA01100C292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0C4743-1A62-BBC5-8356-524EC2453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368300"/>
            <a:ext cx="4322762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00578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352C7E-BCE1-47CD-872E-2935DD89FC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34963" y="2103438"/>
            <a:ext cx="5761037" cy="3748087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ru-R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61759" y="2103120"/>
            <a:ext cx="5395278" cy="3749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74B37B85-8F3B-0F22-329A-B311970F41EE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73D17D-BC08-4737-FE71-3B203F88D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92761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s with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29F16048-FF4E-41B1-B3D4-0FB210A70DF2}"/>
              </a:ext>
            </a:extLst>
          </p:cNvPr>
          <p:cNvSpPr/>
          <p:nvPr userDrawn="1"/>
        </p:nvSpPr>
        <p:spPr>
          <a:xfrm>
            <a:off x="5294630" y="0"/>
            <a:ext cx="6897370" cy="6858000"/>
          </a:xfrm>
          <a:custGeom>
            <a:avLst/>
            <a:gdLst/>
            <a:ahLst/>
            <a:cxnLst/>
            <a:rect l="l" t="t" r="r" b="b"/>
            <a:pathLst>
              <a:path w="6897370" h="6858000">
                <a:moveTo>
                  <a:pt x="0" y="6858000"/>
                </a:moveTo>
                <a:lnTo>
                  <a:pt x="6896900" y="6858000"/>
                </a:lnTo>
                <a:lnTo>
                  <a:pt x="68969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79774D-36EB-4201-B1AC-922DD2E066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294251" y="1192697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5E78E133-FE09-456A-8463-9EFAC6ADE26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40800" y="2878015"/>
            <a:ext cx="1158888" cy="1158888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F0C3496-EA4B-43E5-9704-968F80A8552C}"/>
              </a:ext>
            </a:extLst>
          </p:cNvPr>
          <p:cNvSpPr>
            <a:spLocks noGrp="1"/>
          </p:cNvSpPr>
          <p:nvPr>
            <p:ph type="body" sz="half" idx="23"/>
          </p:nvPr>
        </p:nvSpPr>
        <p:spPr>
          <a:xfrm>
            <a:off x="7294250" y="2880357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28">
            <a:extLst>
              <a:ext uri="{FF2B5EF4-FFF2-40B4-BE49-F238E27FC236}">
                <a16:creationId xmlns:a16="http://schemas.microsoft.com/office/drawing/2014/main" id="{13414E14-9FEB-40F8-AE6E-319637A8F1C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40800" y="4568018"/>
            <a:ext cx="1158888" cy="1158888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EC97C88-8B4C-4665-845B-95CE8F237779}"/>
              </a:ext>
            </a:extLst>
          </p:cNvPr>
          <p:cNvSpPr>
            <a:spLocks noGrp="1"/>
          </p:cNvSpPr>
          <p:nvPr>
            <p:ph type="body" sz="half" idx="25"/>
          </p:nvPr>
        </p:nvSpPr>
        <p:spPr>
          <a:xfrm>
            <a:off x="7294250" y="4568018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28">
            <a:extLst>
              <a:ext uri="{FF2B5EF4-FFF2-40B4-BE49-F238E27FC236}">
                <a16:creationId xmlns:a16="http://schemas.microsoft.com/office/drawing/2014/main" id="{2EB2F967-97B6-4CA8-B3E7-5FF7CA2BDD8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40800" y="1188012"/>
            <a:ext cx="1158888" cy="1158888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DD3086-30B3-5167-0E07-AF1EB87EA8E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23888" y="2647950"/>
            <a:ext cx="3871912" cy="3009900"/>
          </a:xfrm>
        </p:spPr>
        <p:txBody>
          <a:bodyPr>
            <a:noAutofit/>
          </a:bodyPr>
          <a:lstStyle>
            <a:lvl1pPr marL="228600" indent="-228600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Номер слайда 5">
            <a:extLst>
              <a:ext uri="{FF2B5EF4-FFF2-40B4-BE49-F238E27FC236}">
                <a16:creationId xmlns:a16="http://schemas.microsoft.com/office/drawing/2014/main" id="{C52A033F-813E-01C6-BFF6-BFB43FC14497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D1988D-5F76-BB22-4ED7-FB109B0F8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68300"/>
            <a:ext cx="4024312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00021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44B7CE-2038-4CCA-AA8A-D03DE5FD95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799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79774D-36EB-4201-B1AC-922DD2E066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552419" y="1887801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28">
            <a:extLst>
              <a:ext uri="{FF2B5EF4-FFF2-40B4-BE49-F238E27FC236}">
                <a16:creationId xmlns:a16="http://schemas.microsoft.com/office/drawing/2014/main" id="{2EB2F967-97B6-4CA8-B3E7-5FF7CA2BDD8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4273" y="1883115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5E78E133-FE09-456A-8463-9EFAC6ADE26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44273" y="3573118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F0C3496-EA4B-43E5-9704-968F80A8552C}"/>
              </a:ext>
            </a:extLst>
          </p:cNvPr>
          <p:cNvSpPr>
            <a:spLocks noGrp="1"/>
          </p:cNvSpPr>
          <p:nvPr>
            <p:ph type="body" sz="half" idx="23"/>
          </p:nvPr>
        </p:nvSpPr>
        <p:spPr>
          <a:xfrm>
            <a:off x="1552418" y="3575461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 28">
            <a:extLst>
              <a:ext uri="{FF2B5EF4-FFF2-40B4-BE49-F238E27FC236}">
                <a16:creationId xmlns:a16="http://schemas.microsoft.com/office/drawing/2014/main" id="{13414E14-9FEB-40F8-AE6E-319637A8F1C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44273" y="5263121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EC97C88-8B4C-4665-845B-95CE8F237779}"/>
              </a:ext>
            </a:extLst>
          </p:cNvPr>
          <p:cNvSpPr>
            <a:spLocks noGrp="1"/>
          </p:cNvSpPr>
          <p:nvPr>
            <p:ph type="body" sz="half" idx="25"/>
          </p:nvPr>
        </p:nvSpPr>
        <p:spPr>
          <a:xfrm>
            <a:off x="1552418" y="5263122"/>
            <a:ext cx="4057961" cy="77572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E39D6D44-F0B3-14DF-594B-DFE680F27A0E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A971A86-E923-C0F7-2D9C-7A64DFA10A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4273" y="368300"/>
            <a:ext cx="5251727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09721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44B7CE-2038-4CCA-AA8A-D03DE5FD95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0"/>
            <a:ext cx="6096000" cy="685799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79774D-36EB-4201-B1AC-922DD2E066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552419" y="1887801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Picture Placeholder 28">
            <a:extLst>
              <a:ext uri="{FF2B5EF4-FFF2-40B4-BE49-F238E27FC236}">
                <a16:creationId xmlns:a16="http://schemas.microsoft.com/office/drawing/2014/main" id="{2EB2F967-97B6-4CA8-B3E7-5FF7CA2BDD8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4273" y="1883115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5E78E133-FE09-456A-8463-9EFAC6ADE26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44273" y="3573118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F0C3496-EA4B-43E5-9704-968F80A8552C}"/>
              </a:ext>
            </a:extLst>
          </p:cNvPr>
          <p:cNvSpPr>
            <a:spLocks noGrp="1"/>
          </p:cNvSpPr>
          <p:nvPr>
            <p:ph type="body" sz="half" idx="23"/>
          </p:nvPr>
        </p:nvSpPr>
        <p:spPr>
          <a:xfrm>
            <a:off x="1552418" y="3575461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28">
            <a:extLst>
              <a:ext uri="{FF2B5EF4-FFF2-40B4-BE49-F238E27FC236}">
                <a16:creationId xmlns:a16="http://schemas.microsoft.com/office/drawing/2014/main" id="{13414E14-9FEB-40F8-AE6E-319637A8F1C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44273" y="5263121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EC97C88-8B4C-4665-845B-95CE8F237779}"/>
              </a:ext>
            </a:extLst>
          </p:cNvPr>
          <p:cNvSpPr>
            <a:spLocks noGrp="1"/>
          </p:cNvSpPr>
          <p:nvPr>
            <p:ph type="body" sz="half" idx="25"/>
          </p:nvPr>
        </p:nvSpPr>
        <p:spPr>
          <a:xfrm>
            <a:off x="1552418" y="5263122"/>
            <a:ext cx="4057961" cy="77572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6F2E038D-2D6B-261C-715D-914779A6CED8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4ABE5DC-FC03-9DC0-3133-15ECC5D5B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4274" y="368300"/>
            <a:ext cx="476610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92595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29F16048-FF4E-41B1-B3D4-0FB210A70DF2}"/>
              </a:ext>
            </a:extLst>
          </p:cNvPr>
          <p:cNvSpPr/>
          <p:nvPr userDrawn="1"/>
        </p:nvSpPr>
        <p:spPr>
          <a:xfrm>
            <a:off x="5294630" y="0"/>
            <a:ext cx="6897370" cy="6858000"/>
          </a:xfrm>
          <a:custGeom>
            <a:avLst/>
            <a:gdLst/>
            <a:ahLst/>
            <a:cxnLst/>
            <a:rect l="l" t="t" r="r" b="b"/>
            <a:pathLst>
              <a:path w="6897370" h="6858000">
                <a:moveTo>
                  <a:pt x="0" y="6858000"/>
                </a:moveTo>
                <a:lnTo>
                  <a:pt x="6896900" y="6858000"/>
                </a:lnTo>
                <a:lnTo>
                  <a:pt x="68969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79774D-36EB-4201-B1AC-922DD2E066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294251" y="1192697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9337951D-6DB6-4713-9200-E8513CDEB6B3}"/>
              </a:ext>
            </a:extLst>
          </p:cNvPr>
          <p:cNvSpPr/>
          <p:nvPr userDrawn="1"/>
        </p:nvSpPr>
        <p:spPr>
          <a:xfrm>
            <a:off x="0" y="2430411"/>
            <a:ext cx="3625850" cy="3438525"/>
          </a:xfrm>
          <a:custGeom>
            <a:avLst/>
            <a:gdLst/>
            <a:ahLst/>
            <a:cxnLst/>
            <a:rect l="l" t="t" r="r" b="b"/>
            <a:pathLst>
              <a:path w="3625850" h="3438525">
                <a:moveTo>
                  <a:pt x="0" y="3438486"/>
                </a:moveTo>
                <a:lnTo>
                  <a:pt x="3625596" y="3438486"/>
                </a:lnTo>
                <a:lnTo>
                  <a:pt x="3625596" y="0"/>
                </a:lnTo>
                <a:lnTo>
                  <a:pt x="0" y="0"/>
                </a:lnTo>
                <a:lnTo>
                  <a:pt x="0" y="3438486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44B7CE-2038-4CCA-AA8A-D03DE5FD95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2781223"/>
            <a:ext cx="6040800" cy="2736901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28">
            <a:extLst>
              <a:ext uri="{FF2B5EF4-FFF2-40B4-BE49-F238E27FC236}">
                <a16:creationId xmlns:a16="http://schemas.microsoft.com/office/drawing/2014/main" id="{2EB2F967-97B6-4CA8-B3E7-5FF7CA2BDD8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586106" y="1188012"/>
            <a:ext cx="376237" cy="376237"/>
          </a:xfrm>
        </p:spPr>
        <p:txBody>
          <a:bodyPr>
            <a:noAutofit/>
          </a:bodyPr>
          <a:lstStyle>
            <a:lvl1pPr marL="0" indent="0" algn="ctr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5E78E133-FE09-456A-8463-9EFAC6ADE26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586106" y="2878015"/>
            <a:ext cx="376237" cy="376237"/>
          </a:xfrm>
        </p:spPr>
        <p:txBody>
          <a:bodyPr>
            <a:noAutofit/>
          </a:bodyPr>
          <a:lstStyle>
            <a:lvl1pPr marL="0" indent="0" algn="ctr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F0C3496-EA4B-43E5-9704-968F80A8552C}"/>
              </a:ext>
            </a:extLst>
          </p:cNvPr>
          <p:cNvSpPr>
            <a:spLocks noGrp="1"/>
          </p:cNvSpPr>
          <p:nvPr>
            <p:ph type="body" sz="half" idx="23"/>
          </p:nvPr>
        </p:nvSpPr>
        <p:spPr>
          <a:xfrm>
            <a:off x="7294250" y="2880357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 28">
            <a:extLst>
              <a:ext uri="{FF2B5EF4-FFF2-40B4-BE49-F238E27FC236}">
                <a16:creationId xmlns:a16="http://schemas.microsoft.com/office/drawing/2014/main" id="{13414E14-9FEB-40F8-AE6E-319637A8F1C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586106" y="4568018"/>
            <a:ext cx="376237" cy="376237"/>
          </a:xfrm>
        </p:spPr>
        <p:txBody>
          <a:bodyPr>
            <a:noAutofit/>
          </a:bodyPr>
          <a:lstStyle>
            <a:lvl1pPr marL="0" indent="0" algn="ctr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EC97C88-8B4C-4665-845B-95CE8F237779}"/>
              </a:ext>
            </a:extLst>
          </p:cNvPr>
          <p:cNvSpPr>
            <a:spLocks noGrp="1"/>
          </p:cNvSpPr>
          <p:nvPr>
            <p:ph type="body" sz="half" idx="25"/>
          </p:nvPr>
        </p:nvSpPr>
        <p:spPr>
          <a:xfrm>
            <a:off x="7294250" y="4568018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Номер слайда 5">
            <a:extLst>
              <a:ext uri="{FF2B5EF4-FFF2-40B4-BE49-F238E27FC236}">
                <a16:creationId xmlns:a16="http://schemas.microsoft.com/office/drawing/2014/main" id="{13688590-5C33-8183-8042-4E0C6F21FC2B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2494A0E-A380-E920-1CE9-D3DCE9EC2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7750" y="368300"/>
            <a:ext cx="5048250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87728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6" descr="Blue rectangle">
            <a:extLst>
              <a:ext uri="{FF2B5EF4-FFF2-40B4-BE49-F238E27FC236}">
                <a16:creationId xmlns:a16="http://schemas.microsoft.com/office/drawing/2014/main" id="{91CF20F5-9393-470D-8112-456F351FADBE}"/>
              </a:ext>
            </a:extLst>
          </p:cNvPr>
          <p:cNvSpPr/>
          <p:nvPr userDrawn="1"/>
        </p:nvSpPr>
        <p:spPr>
          <a:xfrm>
            <a:off x="6226175" y="1"/>
            <a:ext cx="5965825" cy="6857999"/>
          </a:xfrm>
          <a:custGeom>
            <a:avLst/>
            <a:gdLst/>
            <a:ahLst/>
            <a:cxnLst/>
            <a:rect l="l" t="t" r="r" b="b"/>
            <a:pathLst>
              <a:path w="6689725" h="3528060">
                <a:moveTo>
                  <a:pt x="0" y="3527996"/>
                </a:moveTo>
                <a:lnTo>
                  <a:pt x="6689648" y="3527996"/>
                </a:lnTo>
                <a:lnTo>
                  <a:pt x="6689648" y="0"/>
                </a:lnTo>
                <a:lnTo>
                  <a:pt x="0" y="0"/>
                </a:lnTo>
                <a:lnTo>
                  <a:pt x="0" y="352799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7D7CE69-C1EE-44B8-9CC8-42D4422D0C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86601" y="2926641"/>
            <a:ext cx="4105274" cy="739775"/>
          </a:xfrm>
        </p:spPr>
        <p:txBody>
          <a:bodyPr>
            <a:noAutofit/>
          </a:bodyPr>
          <a:lstStyle>
            <a:lvl1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b="1" kern="12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ru-RU" dirty="0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373422E7-009F-49CA-B542-89B2459CF6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86601" y="3777412"/>
            <a:ext cx="4105274" cy="739775"/>
          </a:xfrm>
        </p:spPr>
        <p:txBody>
          <a:bodyPr>
            <a:noAutofit/>
          </a:bodyPr>
          <a:lstStyle>
            <a:lvl1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b="1" kern="12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ru-RU" dirty="0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EB6916E9-8F10-48D0-A6B9-CB229C4B04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86601" y="4704261"/>
            <a:ext cx="4105274" cy="739775"/>
          </a:xfrm>
        </p:spPr>
        <p:txBody>
          <a:bodyPr>
            <a:noAutofit/>
          </a:bodyPr>
          <a:lstStyle>
            <a:lvl1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b="1" kern="12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ru-RU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30BC4F6-40BE-5122-D49F-5C0FE4D098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226175" cy="6858000"/>
          </a:xfrm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id="{639E1782-0218-320F-7B98-BBDE123A3123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46FEB35-98D4-3E2C-D4EA-868182610C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4276" y="1277726"/>
            <a:ext cx="3581400" cy="7397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07591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4F70AE1-0373-4B8E-9C6F-A87681145315}"/>
              </a:ext>
            </a:extLst>
          </p:cNvPr>
          <p:cNvSpPr>
            <a:spLocks noChangeAspect="1"/>
          </p:cNvSpPr>
          <p:nvPr userDrawn="1"/>
        </p:nvSpPr>
        <p:spPr>
          <a:xfrm>
            <a:off x="334964" y="5014973"/>
            <a:ext cx="11522074" cy="12747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01EE411-05BB-43B4-BF85-4222430030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4" y="368300"/>
            <a:ext cx="11522074" cy="4437700"/>
          </a:xfrm>
        </p:spPr>
        <p:txBody>
          <a:bodyPr anchor="ctr">
            <a:noAutofit/>
          </a:bodyPr>
          <a:lstStyle>
            <a:lvl1pPr>
              <a:defRPr sz="2000">
                <a:solidFill>
                  <a:srgbClr val="000000"/>
                </a:solidFill>
              </a:defRPr>
            </a:lvl1pPr>
            <a:lvl2pPr>
              <a:defRPr sz="18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4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C2A48C1-57D3-4A3D-B843-6ACC41EEE8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40823" y="5135296"/>
            <a:ext cx="5869987" cy="689515"/>
          </a:xfrm>
        </p:spPr>
        <p:txBody>
          <a:bodyPr anchor="ctr">
            <a:noAutofit/>
          </a:bodyPr>
          <a:lstStyle>
            <a:lvl1pPr marL="0" indent="0" algn="r"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1CDDAC-8235-4C26-1548-922885B5A587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BEF832-EB37-825E-7406-1AEFBDE756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1" y="5135296"/>
            <a:ext cx="4809960" cy="689515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65505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BFB384F3-9D7F-13AD-4830-C6B1A2F9CC25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7247E0-CFB1-82D2-BE85-99A53C6D5F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13782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конки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4488" y="974307"/>
            <a:ext cx="11253162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20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Иконки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CC6014-F257-98E4-D4FC-5691850E5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0600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2722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693BB4-1E5E-FF48-9377-F1E3729B2D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637116"/>
            <a:ext cx="8157519" cy="131048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8FB81AB-280F-EB4F-B83C-23443197412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4226719"/>
            <a:ext cx="5897880" cy="21113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Текс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6" name="Рисунок 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352105E5-68EB-6B40-B8C5-F44D6EC93B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897" t="13332" r="10517" b="13164"/>
          <a:stretch/>
        </p:blipFill>
        <p:spPr>
          <a:xfrm>
            <a:off x="838200" y="419482"/>
            <a:ext cx="2655293" cy="113034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6BFB985-2DA8-F843-81BC-8DCB591736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0000"/>
          </a:blip>
          <a:srcRect r="50000"/>
          <a:stretch/>
        </p:blipFill>
        <p:spPr>
          <a:xfrm>
            <a:off x="8056428" y="-723469"/>
            <a:ext cx="4135572" cy="8271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6101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898791-1965-95EB-D7F1-4F8F374744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5185"/>
            <a:ext cx="8221317" cy="459823"/>
          </a:xfrm>
        </p:spPr>
        <p:txBody>
          <a:bodyPr>
            <a:noAutofit/>
          </a:bodyPr>
          <a:lstStyle>
            <a:lvl1pPr>
              <a:defRPr sz="24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8601028-F807-239A-18DC-F19FFFFAEF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E4AD5-384F-44FA-95B2-8856D44F612D}" type="datetime1">
              <a:rPr lang="ru-RU" smtClean="0"/>
              <a:t>21.07.2023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21D7E2-94E7-78EE-3F60-44A23E00BC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A1CCC4-CA8C-687F-9E8C-0A725BB57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0A67B0-C6F7-429B-ACE2-7D2AA5E3379D}" type="slidenum">
              <a:rPr lang="ru-RU" smtClean="0"/>
              <a:t>‹#›</a:t>
            </a:fld>
            <a:endParaRPr lang="ru-R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B4C8395-CAD0-6359-25C5-8DF81B045AA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6896" y="881506"/>
            <a:ext cx="11320669" cy="4142724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DC4F4CA-89EA-F4A6-C6BF-734AC6AD84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199" y="5183256"/>
            <a:ext cx="10951321" cy="1098249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 marL="914400" indent="0"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id="{98520EB3-AB1F-7E1A-87D3-51CAEC4DF029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8110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ED7E8186-3D51-5876-94D0-F094FE557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68300"/>
            <a:ext cx="11243637" cy="91599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ru-RU" sz="2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dirty="0"/>
          </a:p>
        </p:txBody>
      </p:sp>
      <p:sp>
        <p:nvSpPr>
          <p:cNvPr id="4" name="Подзаголовок 2">
            <a:extLst>
              <a:ext uri="{FF2B5EF4-FFF2-40B4-BE49-F238E27FC236}">
                <a16:creationId xmlns:a16="http://schemas.microsoft.com/office/drawing/2014/main" id="{46A9E94E-2298-3095-B9D6-4D6293D1AA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9485" y="1284291"/>
            <a:ext cx="11229115" cy="9363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5" name="Рисунок 9">
            <a:extLst>
              <a:ext uri="{FF2B5EF4-FFF2-40B4-BE49-F238E27FC236}">
                <a16:creationId xmlns:a16="http://schemas.microsoft.com/office/drawing/2014/main" id="{49A620BC-EF61-AD17-FCBE-2751E4667E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8326" y="2469102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Рисунок 9">
            <a:extLst>
              <a:ext uri="{FF2B5EF4-FFF2-40B4-BE49-F238E27FC236}">
                <a16:creationId xmlns:a16="http://schemas.microsoft.com/office/drawing/2014/main" id="{354AFF29-9A25-40F5-18B9-8797DD6D267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74184" y="2469102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7" name="Рисунок 9">
            <a:extLst>
              <a:ext uri="{FF2B5EF4-FFF2-40B4-BE49-F238E27FC236}">
                <a16:creationId xmlns:a16="http://schemas.microsoft.com/office/drawing/2014/main" id="{F4C557F1-D51E-B147-9521-B9E376DA89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80871" y="2469102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Дата 3">
            <a:extLst>
              <a:ext uri="{FF2B5EF4-FFF2-40B4-BE49-F238E27FC236}">
                <a16:creationId xmlns:a16="http://schemas.microsoft.com/office/drawing/2014/main" id="{46856762-90AD-3AC6-313A-F4A4139739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5107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fld id="{D63117F4-A47D-4CC3-8842-65E0C27E8A6B}" type="datetime1">
              <a:rPr lang="ru-RU" smtClean="0"/>
              <a:t>21.07.2023</a:t>
            </a:fld>
            <a:endParaRPr lang="ru-R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6A128FC-143E-FF72-1D35-2EEAC7D483E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65425" y="5094288"/>
            <a:ext cx="3420001" cy="32567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554324A-25E9-1308-2C3D-643BC82E8BF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67213" y="5082261"/>
            <a:ext cx="3426967" cy="32567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CF20A1-FB8B-900B-977B-EC74BF8557A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77384" y="5089524"/>
            <a:ext cx="3426967" cy="32567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id="{2D09D979-A423-1BF3-3B49-4473F3A73A42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01657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дзаголовок 2">
            <a:extLst>
              <a:ext uri="{FF2B5EF4-FFF2-40B4-BE49-F238E27FC236}">
                <a16:creationId xmlns:a16="http://schemas.microsoft.com/office/drawing/2014/main" id="{B2285971-C287-9E16-8E07-F743B823378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1164807"/>
            <a:ext cx="11243637" cy="480969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5" name="Рисунок 9">
            <a:extLst>
              <a:ext uri="{FF2B5EF4-FFF2-40B4-BE49-F238E27FC236}">
                <a16:creationId xmlns:a16="http://schemas.microsoft.com/office/drawing/2014/main" id="{60E75A55-C50A-571F-9656-A14A82AC82C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8801" y="1668637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Рисунок 9">
            <a:extLst>
              <a:ext uri="{FF2B5EF4-FFF2-40B4-BE49-F238E27FC236}">
                <a16:creationId xmlns:a16="http://schemas.microsoft.com/office/drawing/2014/main" id="{B0CFE348-B1AC-20AD-05AD-31B22043846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45609" y="1668637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7" name="Рисунок 9">
            <a:extLst>
              <a:ext uri="{FF2B5EF4-FFF2-40B4-BE49-F238E27FC236}">
                <a16:creationId xmlns:a16="http://schemas.microsoft.com/office/drawing/2014/main" id="{E5EB08E5-1CE5-F120-34C8-74D727357C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52296" y="1668637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Дата 3">
            <a:extLst>
              <a:ext uri="{FF2B5EF4-FFF2-40B4-BE49-F238E27FC236}">
                <a16:creationId xmlns:a16="http://schemas.microsoft.com/office/drawing/2014/main" id="{ED498019-96FC-D745-34F4-233E13CC45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5107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fld id="{FFB8FC7F-1DAB-446A-A3FF-D8BB6DF18C8F}" type="datetime1">
              <a:rPr lang="ru-RU" smtClean="0"/>
              <a:t>21.07.2023</a:t>
            </a:fld>
            <a:endParaRPr lang="ru-R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3836DA8-0274-0F7F-5881-DF0AF8D359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8801" y="4263111"/>
            <a:ext cx="3420001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E0DF786-18D1-90FE-E1D6-A6BB23E66CC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8638" y="4263111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3A4E3FE-C406-B59B-462D-7FE7332D649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48809" y="4263111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66D977A-16A3-4C08-1FF3-C250FD830B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45609" y="4663262"/>
            <a:ext cx="3432175" cy="1504176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1D441C5-52AA-EEE1-E252-EFD46331636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54988" y="4658500"/>
            <a:ext cx="3432175" cy="1504176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390D080-975C-96B1-10F0-13597A706BC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8801" y="4658500"/>
            <a:ext cx="3420001" cy="150417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endParaRPr lang="en-US" dirty="0"/>
          </a:p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id="{5490AD22-FB76-D800-281C-7B8047D8F7DD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677C3D-E989-6FF2-92CF-DE507C9FD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16077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842E67-35F4-4EC2-B5B4-6D02111EDA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561044" y="368300"/>
            <a:ext cx="3562036" cy="5940424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553049D-F1F2-4E3C-B0A3-D2BCB35B18A8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8293226" y="368300"/>
            <a:ext cx="3557461" cy="5940424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C935A1-3DFF-457D-8C70-E337C3D84F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41313" y="2057399"/>
            <a:ext cx="3598550" cy="4251325"/>
          </a:xfrm>
        </p:spPr>
        <p:txBody>
          <a:bodyPr>
            <a:noAutofit/>
          </a:bodyPr>
          <a:lstStyle>
            <a:lvl1pPr marL="216000" indent="-216000">
              <a:lnSpc>
                <a:spcPct val="90000"/>
              </a:lnSpc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88F5409-7862-87BC-E794-7C65F8CA4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3598551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CA385D84-B536-D246-93B0-5B51EDBCCC79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1548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 with Captio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842E67-35F4-4EC2-B5B4-6D02111EDA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34963" y="368300"/>
            <a:ext cx="3564000" cy="5940425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553049D-F1F2-4E3C-B0A3-D2BCB35B18A8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8293037" y="368298"/>
            <a:ext cx="3564000" cy="5940426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8C645043-BE6A-4D32-ACA9-AB593DA6BC9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92599" y="2057399"/>
            <a:ext cx="3643314" cy="425132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0060891-0D1E-57C5-FB42-460A00865399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2B6AEA9-EBF0-44F9-4232-DD9EE4C920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2976" y="368300"/>
            <a:ext cx="3182938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44506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6789CAAE-0AE0-0344-9A87-E4A9F176F5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1"/>
            </p:custDataLst>
            <p:extLst>
              <p:ext uri="{D42A27DB-BD31-4B8C-83A1-F6EECF244321}">
                <p14:modId xmlns:p14="http://schemas.microsoft.com/office/powerpoint/2010/main" val="1434357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2" imgW="416" imgH="416" progId="TCLayout.ActiveDocument.1">
                  <p:embed/>
                </p:oleObj>
              </mc:Choice>
              <mc:Fallback>
                <p:oleObj name="Слайд think-cell" r:id="rId62" imgW="416" imgH="41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6789CAAE-0AE0-0344-9A87-E4A9F176F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DD4DDF8-10FD-5C47-B487-C516D7C60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550A91-DE18-2C4D-9126-F39D7913C6B4}"/>
              </a:ext>
            </a:extLst>
          </p:cNvPr>
          <p:cNvSpPr txBox="1"/>
          <p:nvPr userDrawn="1"/>
        </p:nvSpPr>
        <p:spPr>
          <a:xfrm>
            <a:off x="-1693332" y="541868"/>
            <a:ext cx="184731" cy="37503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B4E6D6-CE54-36C8-458B-E144497C7D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2" y="1600200"/>
            <a:ext cx="11522076" cy="4576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80658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  <p:sldLayoutId id="2147483709" r:id="rId48"/>
    <p:sldLayoutId id="2147483710" r:id="rId49"/>
    <p:sldLayoutId id="2147483711" r:id="rId50"/>
    <p:sldLayoutId id="2147483712" r:id="rId51"/>
    <p:sldLayoutId id="2147483713" r:id="rId52"/>
    <p:sldLayoutId id="2147483714" r:id="rId53"/>
    <p:sldLayoutId id="2147483715" r:id="rId54"/>
    <p:sldLayoutId id="2147483716" r:id="rId55"/>
    <p:sldLayoutId id="2147483717" r:id="rId56"/>
    <p:sldLayoutId id="2147483718" r:id="rId57"/>
    <p:sldLayoutId id="2147483660" r:id="rId58"/>
    <p:sldLayoutId id="2147483722" r:id="rId59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i="0" kern="0" baseline="0">
          <a:solidFill>
            <a:schemeClr val="bg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8000"/>
        <a:buFont typeface="Wingdings 2" panose="05020102010507070707" pitchFamily="18" charset="2"/>
        <a:buChar char=""/>
        <a:defRPr sz="2000" kern="0" baseline="0">
          <a:solidFill>
            <a:srgbClr val="0000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SzPct val="100000"/>
        <a:buFont typeface="Wide Latin" panose="020A0A07050505020404" pitchFamily="18" charset="0"/>
        <a:buChar char="-"/>
        <a:defRPr sz="2000" kern="0" baseline="0">
          <a:solidFill>
            <a:srgbClr val="0000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de Latin" panose="020A0A07050505020404" pitchFamily="18" charset="0"/>
        <a:buChar char="-"/>
        <a:defRPr sz="1800" kern="0" baseline="0">
          <a:solidFill>
            <a:srgbClr val="0000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0" baseline="0">
          <a:solidFill>
            <a:srgbClr val="0000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0" baseline="0">
          <a:solidFill>
            <a:srgbClr val="0000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0B098C-2D50-B246-4602-7F8A8F884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трет успешного абитуриента.</a:t>
            </a:r>
            <a:br>
              <a:rPr lang="ru-RU" dirty="0"/>
            </a:br>
            <a:r>
              <a:rPr lang="ru-RU" dirty="0"/>
              <a:t>2022-2023 учебный год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1E075-6A24-4E9F-F4EC-5EBA0D9A09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/>
              <a:t>Евгений Пунинский</a:t>
            </a:r>
          </a:p>
          <a:p>
            <a:pPr marL="0" indent="0">
              <a:buNone/>
            </a:pPr>
            <a:r>
              <a:rPr lang="ru-RU" dirty="0"/>
              <a:t>Аналитик отдела дополнительного и дистанционного образования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dirty="0"/>
              <a:t>21.07.2023</a:t>
            </a:r>
          </a:p>
        </p:txBody>
      </p:sp>
    </p:spTree>
    <p:extLst>
      <p:ext uri="{BB962C8B-B14F-4D97-AF65-F5344CB8AC3E}">
        <p14:creationId xmlns:p14="http://schemas.microsoft.com/office/powerpoint/2010/main" val="9388209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>
            <a:extLst>
              <a:ext uri="{FF2B5EF4-FFF2-40B4-BE49-F238E27FC236}">
                <a16:creationId xmlns:a16="http://schemas.microsoft.com/office/drawing/2014/main" id="{0477906B-CFDD-288B-BC69-0BEA56B31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З</a:t>
            </a:r>
            <a:r>
              <a:rPr lang="en-US" dirty="0"/>
              <a:t>: </a:t>
            </a:r>
            <a:r>
              <a:rPr lang="ru-RU" dirty="0"/>
              <a:t>кол-во решенных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7B8E516-F8C5-BED0-B4B0-D7370C35E4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В среднем успешные решают на 5 ОЗ больше</a:t>
            </a:r>
          </a:p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Медианы: Успех </a:t>
            </a:r>
            <a:r>
              <a:rPr lang="en-US" b="0" dirty="0">
                <a:solidFill>
                  <a:schemeClr val="bg2"/>
                </a:solidFill>
                <a:effectLst/>
                <a:latin typeface="+mn-lt"/>
              </a:rPr>
              <a:t>-</a:t>
            </a:r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 10</a:t>
            </a:r>
            <a:r>
              <a:rPr lang="en-US" b="0" dirty="0">
                <a:solidFill>
                  <a:schemeClr val="bg2"/>
                </a:solidFill>
                <a:effectLst/>
                <a:latin typeface="+mn-lt"/>
              </a:rPr>
              <a:t>, </a:t>
            </a:r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Нет </a:t>
            </a:r>
            <a:r>
              <a:rPr lang="en-US" b="0" dirty="0">
                <a:solidFill>
                  <a:schemeClr val="bg2"/>
                </a:solidFill>
                <a:effectLst/>
                <a:latin typeface="+mn-lt"/>
              </a:rPr>
              <a:t>-</a:t>
            </a:r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 5</a:t>
            </a:r>
          </a:p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Во всех классах также видим разницу в пользу успешных</a:t>
            </a:r>
          </a:p>
          <a:p>
            <a:endParaRPr lang="ru-RU" b="0" dirty="0">
              <a:solidFill>
                <a:schemeClr val="bg2"/>
              </a:solidFill>
              <a:effectLst/>
              <a:latin typeface="+mn-lt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AD52C4E-7D32-25D8-45B9-0FE1F80B214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073746" y="881063"/>
            <a:ext cx="10185796" cy="4143375"/>
          </a:xfr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5F1211-A4B8-BE19-FF61-FB5577CFA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4D9F3-DE7B-4583-9A16-4ABE7DEB8560}" type="datetime1">
              <a:rPr lang="ru-RU" smtClean="0"/>
              <a:t>21.07.20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80399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>
            <a:extLst>
              <a:ext uri="{FF2B5EF4-FFF2-40B4-BE49-F238E27FC236}">
                <a16:creationId xmlns:a16="http://schemas.microsoft.com/office/drawing/2014/main" id="{0477906B-CFDD-288B-BC69-0BEA56B31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З</a:t>
            </a:r>
            <a:r>
              <a:rPr lang="en-US" dirty="0"/>
              <a:t>: </a:t>
            </a:r>
            <a:r>
              <a:rPr lang="ru-RU" dirty="0"/>
              <a:t>кругозор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7B8E516-F8C5-BED0-B4B0-D7370C35E4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Успешные в среднем решают ОЗ в двух разных предметах. Неуспешные в 1.</a:t>
            </a:r>
          </a:p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По классам мы видим разницу в медианах только в 7м классе.</a:t>
            </a:r>
          </a:p>
          <a:p>
            <a:pPr marL="0" indent="0">
              <a:buNone/>
            </a:pPr>
            <a:endParaRPr lang="ru-RU" b="0" dirty="0">
              <a:solidFill>
                <a:schemeClr val="bg2"/>
              </a:solidFill>
              <a:effectLst/>
              <a:latin typeface="+mn-lt"/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6049BA1-D131-0603-82D6-AA85542C2F64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073746" y="881063"/>
            <a:ext cx="10185796" cy="4143375"/>
          </a:xfr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CC58700-AA38-9EBF-E625-DA0B91A8A3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D2EB9-CFC2-415A-9EA5-B08AA06087C3}" type="datetime1">
              <a:rPr lang="ru-RU" smtClean="0"/>
              <a:t>21.07.20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1624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>
            <a:extLst>
              <a:ext uri="{FF2B5EF4-FFF2-40B4-BE49-F238E27FC236}">
                <a16:creationId xmlns:a16="http://schemas.microsoft.com/office/drawing/2014/main" id="{0477906B-CFDD-288B-BC69-0BEA56B31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З</a:t>
            </a:r>
            <a:r>
              <a:rPr lang="en-US" dirty="0"/>
              <a:t>: </a:t>
            </a:r>
            <a:r>
              <a:rPr lang="ru-RU" dirty="0"/>
              <a:t>результат, %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7B8E516-F8C5-BED0-B4B0-D7370C35E4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Существенная разница как в общем, так и по классам. Успешные лучше пишут ОЗ</a:t>
            </a:r>
          </a:p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Видим большую разницу между классами</a:t>
            </a:r>
          </a:p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Медианы в целом 41% и 55%.</a:t>
            </a:r>
          </a:p>
          <a:p>
            <a:pPr marL="0" indent="0">
              <a:buNone/>
            </a:pPr>
            <a:endParaRPr lang="ru-RU" b="0" dirty="0">
              <a:solidFill>
                <a:schemeClr val="bg2"/>
              </a:solidFill>
              <a:effectLst/>
              <a:latin typeface="+mn-lt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F4B6BB2-50F3-9060-4247-4F7F586B101C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073746" y="881063"/>
            <a:ext cx="10185796" cy="4143375"/>
          </a:xfr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5619354-7148-9A6E-3A11-01B76F605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820F5-955C-4019-9EBD-B089C3FA532B}" type="datetime1">
              <a:rPr lang="ru-RU" smtClean="0"/>
              <a:t>21.07.20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89622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>
            <a:extLst>
              <a:ext uri="{FF2B5EF4-FFF2-40B4-BE49-F238E27FC236}">
                <a16:creationId xmlns:a16="http://schemas.microsoft.com/office/drawing/2014/main" id="{0477906B-CFDD-288B-BC69-0BEA56B31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урсы</a:t>
            </a:r>
            <a:r>
              <a:rPr lang="en-US" dirty="0"/>
              <a:t>: </a:t>
            </a:r>
            <a:r>
              <a:rPr lang="ru-RU" dirty="0"/>
              <a:t>кол-во начатых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7B8E516-F8C5-BED0-B4B0-D7370C35E4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Четкая разница (медианы 1 и 2)</a:t>
            </a:r>
          </a:p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По классам тоже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2300D96-30E2-7FD3-2925-C6B7F780030B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073746" y="881063"/>
            <a:ext cx="10185796" cy="4143375"/>
          </a:xfr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E2E3AA-C526-B38D-6B37-A9AC5C9036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92A4D-A1F1-458F-B2CD-D05A84418484}" type="datetime1">
              <a:rPr lang="ru-RU" smtClean="0"/>
              <a:t>21.07.20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08530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>
            <a:extLst>
              <a:ext uri="{FF2B5EF4-FFF2-40B4-BE49-F238E27FC236}">
                <a16:creationId xmlns:a16="http://schemas.microsoft.com/office/drawing/2014/main" id="{0477906B-CFDD-288B-BC69-0BEA56B31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урсы</a:t>
            </a:r>
            <a:r>
              <a:rPr lang="en-US" dirty="0"/>
              <a:t>: </a:t>
            </a:r>
            <a:r>
              <a:rPr lang="ru-RU" dirty="0"/>
              <a:t>кол-во выполненных на половину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7B8E516-F8C5-BED0-B4B0-D7370C35E4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Медианы для успешных - 0, для неуспешных - 0</a:t>
            </a:r>
          </a:p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Верхние квартили выше у успешных во всех классах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0533571-2479-B7DB-86AD-2435C3D5D9DB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073746" y="881063"/>
            <a:ext cx="10185796" cy="4143375"/>
          </a:xfr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2149AFA-3566-546A-0BCF-EF7A875774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3AC71-4826-48F1-B5A4-5040229EDF43}" type="datetime1">
              <a:rPr lang="ru-RU" smtClean="0"/>
              <a:t>21.07.20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23301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>
            <a:extLst>
              <a:ext uri="{FF2B5EF4-FFF2-40B4-BE49-F238E27FC236}">
                <a16:creationId xmlns:a16="http://schemas.microsoft.com/office/drawing/2014/main" id="{0477906B-CFDD-288B-BC69-0BEA56B31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ремя</a:t>
            </a:r>
            <a:r>
              <a:rPr lang="en-US" dirty="0"/>
              <a:t>: </a:t>
            </a:r>
            <a:r>
              <a:rPr lang="ru-RU" dirty="0"/>
              <a:t>номер недели первого логина в тек. уч. году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7B8E516-F8C5-BED0-B4B0-D7370C35E4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Успешные абитуриенты всегда приходят к нам раньше.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B576C9F-27F1-2607-F74A-63F5FE301DC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073746" y="881063"/>
            <a:ext cx="10185796" cy="4143375"/>
          </a:xfr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634E43-E6D3-537C-B0CD-0079A59BB5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1F059-19D2-43BE-95C8-1871555CFD83}" type="datetime1">
              <a:rPr lang="ru-RU" smtClean="0"/>
              <a:t>21.07.20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98391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>
            <a:extLst>
              <a:ext uri="{FF2B5EF4-FFF2-40B4-BE49-F238E27FC236}">
                <a16:creationId xmlns:a16="http://schemas.microsoft.com/office/drawing/2014/main" id="{0477906B-CFDD-288B-BC69-0BEA56B31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ремя</a:t>
            </a:r>
            <a:r>
              <a:rPr lang="en-US" dirty="0"/>
              <a:t>: </a:t>
            </a:r>
            <a:r>
              <a:rPr lang="ru-RU" dirty="0"/>
              <a:t>год первого логина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7B8E516-F8C5-BED0-B4B0-D7370C35E4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0 – означает текущий уч. год, 1 – предыдущий и т.д.</a:t>
            </a:r>
          </a:p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Успешные абитуриенты в среднем уже провели на платформе 1 год.</a:t>
            </a:r>
          </a:p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Неуспешные чаще приходят в текущем году впервые.</a:t>
            </a:r>
          </a:p>
          <a:p>
            <a:endParaRPr lang="ru-RU" b="0" dirty="0">
              <a:solidFill>
                <a:schemeClr val="bg2"/>
              </a:solidFill>
              <a:effectLst/>
              <a:latin typeface="+mn-lt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96B4368-A7B1-F676-01B1-C4783321C2FC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073746" y="881063"/>
            <a:ext cx="10185796" cy="4143375"/>
          </a:xfr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16A6315-9821-E87E-D31E-C61FD468E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4C7C4-6FDC-43CB-A008-C533415F116C}" type="datetime1">
              <a:rPr lang="ru-RU" smtClean="0"/>
              <a:t>21.07.20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32771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AEDD696-888B-2ED3-4343-DBB60845CE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2" y="1266826"/>
            <a:ext cx="11522076" cy="4910138"/>
          </a:xfrm>
        </p:spPr>
        <p:txBody>
          <a:bodyPr/>
          <a:lstStyle/>
          <a:p>
            <a:pPr marL="0" indent="0">
              <a:buNone/>
            </a:pPr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Исследовать основных кандидатов в признаки успешности и построить </a:t>
            </a:r>
            <a:r>
              <a:rPr lang="ru-RU" b="1" dirty="0">
                <a:solidFill>
                  <a:schemeClr val="bg2"/>
                </a:solidFill>
                <a:effectLst/>
                <a:latin typeface="+mn-lt"/>
              </a:rPr>
              <a:t>портрет успешного абитуриента</a:t>
            </a:r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 школы </a:t>
            </a:r>
            <a:r>
              <a:rPr lang="ru-RU" b="0" dirty="0" err="1">
                <a:solidFill>
                  <a:schemeClr val="bg2"/>
                </a:solidFill>
                <a:effectLst/>
                <a:latin typeface="+mn-lt"/>
              </a:rPr>
              <a:t>Летово</a:t>
            </a:r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 2022-2023.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dirty="0"/>
              <a:t>Будем брать данные за 2022-2023 год с 25 августа 2022 по 28 февраля 2023 включительно.</a:t>
            </a:r>
          </a:p>
          <a:p>
            <a:pPr marL="0" indent="0">
              <a:buNone/>
            </a:pPr>
            <a:r>
              <a:rPr lang="ru-RU" dirty="0"/>
              <a:t>Берем только тех, кто </a:t>
            </a:r>
            <a:r>
              <a:rPr lang="ru-RU" dirty="0" err="1"/>
              <a:t>логинился</a:t>
            </a:r>
            <a:r>
              <a:rPr lang="ru-RU" dirty="0"/>
              <a:t> на платформе в этом году. </a:t>
            </a:r>
          </a:p>
          <a:p>
            <a:pPr marL="0" indent="0">
              <a:buNone/>
            </a:pPr>
            <a:r>
              <a:rPr lang="ru-RU" dirty="0"/>
              <a:t>Рассчитаем ряд признаков связанных с</a:t>
            </a:r>
            <a:endParaRPr lang="en-US" dirty="0"/>
          </a:p>
          <a:p>
            <a:r>
              <a:rPr lang="ru-RU" dirty="0"/>
              <a:t>Тестами</a:t>
            </a:r>
          </a:p>
          <a:p>
            <a:r>
              <a:rPr lang="ru-RU" dirty="0"/>
              <a:t>Олимпиадными заданиями</a:t>
            </a:r>
          </a:p>
          <a:p>
            <a:r>
              <a:rPr lang="ru-RU" dirty="0"/>
              <a:t>Курсами</a:t>
            </a:r>
          </a:p>
          <a:p>
            <a:r>
              <a:rPr lang="ru-RU" dirty="0"/>
              <a:t>Временем первого логина на платформе</a:t>
            </a:r>
          </a:p>
          <a:p>
            <a:endParaRPr lang="ru-RU" dirty="0"/>
          </a:p>
          <a:p>
            <a:pPr marL="0" indent="0">
              <a:buNone/>
            </a:pPr>
            <a:r>
              <a:rPr lang="ru-RU" dirty="0"/>
              <a:t>В дальнейшем эти признаки будут применяться для модели скоринга успешности ученика.</a:t>
            </a:r>
            <a:br>
              <a:rPr lang="ru-RU" dirty="0"/>
            </a:br>
            <a:endParaRPr lang="ru-RU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93ECFE-04A4-6069-93BD-01CC008FC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становка задачи</a:t>
            </a:r>
          </a:p>
        </p:txBody>
      </p:sp>
    </p:spTree>
    <p:extLst>
      <p:ext uri="{BB962C8B-B14F-4D97-AF65-F5344CB8AC3E}">
        <p14:creationId xmlns:p14="http://schemas.microsoft.com/office/powerpoint/2010/main" val="681840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AEDD696-888B-2ED3-4343-DBB60845CE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717" y="964096"/>
            <a:ext cx="11345518" cy="5461552"/>
          </a:xfrm>
        </p:spPr>
        <p:txBody>
          <a:bodyPr/>
          <a:lstStyle/>
          <a:p>
            <a:pPr marL="0" indent="0">
              <a:buNone/>
            </a:pPr>
            <a:r>
              <a:rPr lang="ru-RU" sz="1800" b="0" dirty="0">
                <a:solidFill>
                  <a:schemeClr val="bg2"/>
                </a:solidFill>
                <a:effectLst/>
                <a:latin typeface="+mn-lt"/>
              </a:rPr>
              <a:t>Для многих значимых признаков распределение </a:t>
            </a:r>
            <a:r>
              <a:rPr lang="ru-RU" sz="1800" b="1" dirty="0">
                <a:solidFill>
                  <a:schemeClr val="bg2"/>
                </a:solidFill>
                <a:effectLst/>
                <a:latin typeface="+mn-lt"/>
              </a:rPr>
              <a:t>сильно разнится для различных классов</a:t>
            </a:r>
            <a:r>
              <a:rPr lang="ru-RU" sz="1800" b="0" dirty="0">
                <a:solidFill>
                  <a:schemeClr val="bg2"/>
                </a:solidFill>
                <a:effectLst/>
                <a:latin typeface="+mn-lt"/>
              </a:rPr>
              <a:t>. Это значит, что нужно либо обучаться на каждом классе в отдельности, либо включать класс как признак успешности (и может быть какие-то производные члены взаимодействия других признаков с классом)</a:t>
            </a:r>
          </a:p>
          <a:p>
            <a:pPr marL="0" indent="0">
              <a:buNone/>
            </a:pPr>
            <a:r>
              <a:rPr lang="ru-RU" sz="1800" b="0" dirty="0">
                <a:solidFill>
                  <a:schemeClr val="bg2"/>
                </a:solidFill>
                <a:effectLst/>
                <a:latin typeface="+mn-lt"/>
              </a:rPr>
              <a:t>Самые явные </a:t>
            </a:r>
            <a:r>
              <a:rPr lang="ru-RU" sz="1800" b="1" dirty="0">
                <a:solidFill>
                  <a:schemeClr val="bg2"/>
                </a:solidFill>
                <a:effectLst/>
                <a:latin typeface="+mn-lt"/>
              </a:rPr>
              <a:t>признаки успешности абитуриента 2022-2023</a:t>
            </a:r>
            <a:r>
              <a:rPr lang="en-US" sz="1800" b="1" dirty="0">
                <a:solidFill>
                  <a:schemeClr val="bg2"/>
                </a:solidFill>
                <a:effectLst/>
                <a:latin typeface="+mn-lt"/>
              </a:rPr>
              <a:t>:</a:t>
            </a:r>
            <a:endParaRPr lang="ru-RU" sz="1800" b="0" dirty="0">
              <a:solidFill>
                <a:schemeClr val="bg2"/>
              </a:solidFill>
              <a:effectLst/>
              <a:latin typeface="+mn-lt"/>
            </a:endParaRPr>
          </a:p>
          <a:p>
            <a:r>
              <a:rPr lang="ru-RU" sz="1800" dirty="0">
                <a:solidFill>
                  <a:schemeClr val="bg2"/>
                </a:solidFill>
                <a:effectLst/>
                <a:latin typeface="+mn-lt"/>
              </a:rPr>
              <a:t>Результат начальной попытки в тесте, среднее</a:t>
            </a:r>
          </a:p>
          <a:p>
            <a:r>
              <a:rPr lang="ru-RU" sz="1800" dirty="0">
                <a:solidFill>
                  <a:schemeClr val="bg2"/>
                </a:solidFill>
                <a:effectLst/>
                <a:latin typeface="+mn-lt"/>
              </a:rPr>
              <a:t>Общее кол-во тренировок, среднее</a:t>
            </a:r>
          </a:p>
          <a:p>
            <a:r>
              <a:rPr lang="ru-RU" sz="1800" dirty="0">
                <a:solidFill>
                  <a:schemeClr val="bg2"/>
                </a:solidFill>
                <a:effectLst/>
                <a:latin typeface="+mn-lt"/>
              </a:rPr>
              <a:t>Общий результат за тест, среднее</a:t>
            </a:r>
          </a:p>
          <a:p>
            <a:r>
              <a:rPr lang="ru-RU" sz="1800" dirty="0">
                <a:solidFill>
                  <a:schemeClr val="bg2"/>
                </a:solidFill>
                <a:effectLst/>
                <a:latin typeface="+mn-lt"/>
              </a:rPr>
              <a:t>Кол-во решенных ОЗ</a:t>
            </a:r>
          </a:p>
          <a:p>
            <a:r>
              <a:rPr lang="ru-RU" sz="1800" dirty="0">
                <a:solidFill>
                  <a:schemeClr val="bg2"/>
                </a:solidFill>
                <a:effectLst/>
                <a:latin typeface="+mn-lt"/>
              </a:rPr>
              <a:t>Средний результат ОЗ, %</a:t>
            </a:r>
          </a:p>
          <a:p>
            <a:r>
              <a:rPr lang="ru-RU" sz="1800" dirty="0">
                <a:solidFill>
                  <a:schemeClr val="bg2"/>
                </a:solidFill>
                <a:effectLst/>
                <a:latin typeface="+mn-lt"/>
              </a:rPr>
              <a:t>Кол-во начатых курсов</a:t>
            </a:r>
          </a:p>
          <a:p>
            <a:r>
              <a:rPr lang="ru-RU" sz="1800" dirty="0">
                <a:solidFill>
                  <a:schemeClr val="bg2"/>
                </a:solidFill>
                <a:effectLst/>
                <a:latin typeface="+mn-lt"/>
              </a:rPr>
              <a:t>Неделя первого логина в текущем уч. году</a:t>
            </a:r>
          </a:p>
          <a:p>
            <a:pPr marL="0" indent="0">
              <a:buNone/>
            </a:pP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0" indent="0">
              <a:buNone/>
            </a:pPr>
            <a:r>
              <a:rPr lang="ru-RU" sz="1800" b="0" dirty="0">
                <a:solidFill>
                  <a:schemeClr val="bg2"/>
                </a:solidFill>
                <a:effectLst/>
                <a:latin typeface="+mn-lt"/>
              </a:rPr>
              <a:t>Остальные признаки</a:t>
            </a:r>
            <a:r>
              <a:rPr lang="en-US" sz="1800" b="0" dirty="0">
                <a:solidFill>
                  <a:schemeClr val="bg2"/>
                </a:solidFill>
                <a:effectLst/>
                <a:latin typeface="+mn-lt"/>
              </a:rPr>
              <a:t> </a:t>
            </a:r>
            <a:r>
              <a:rPr lang="ru-RU" sz="1800" b="0" dirty="0">
                <a:solidFill>
                  <a:schemeClr val="bg2"/>
                </a:solidFill>
                <a:effectLst/>
                <a:latin typeface="+mn-lt"/>
              </a:rPr>
              <a:t>скорее всего не окажут </a:t>
            </a:r>
            <a:r>
              <a:rPr lang="ru-RU" sz="1800" dirty="0">
                <a:solidFill>
                  <a:schemeClr val="bg2"/>
                </a:solidFill>
                <a:latin typeface="+mn-lt"/>
              </a:rPr>
              <a:t>существенного</a:t>
            </a:r>
            <a:r>
              <a:rPr lang="ru-RU" sz="1800" b="0" dirty="0">
                <a:solidFill>
                  <a:schemeClr val="bg2"/>
                </a:solidFill>
                <a:effectLst/>
                <a:latin typeface="+mn-lt"/>
              </a:rPr>
              <a:t> влияния на модель. Их можно либо не рассматривать вообще, либо тестировать, в зависимости от наших временных возможностей.</a:t>
            </a:r>
          </a:p>
          <a:p>
            <a:pPr marL="0" indent="0">
              <a:buNone/>
            </a:pPr>
            <a:br>
              <a:rPr lang="ru-RU" sz="1800" dirty="0">
                <a:solidFill>
                  <a:schemeClr val="bg2"/>
                </a:solidFill>
                <a:latin typeface="+mn-lt"/>
              </a:rPr>
            </a:br>
            <a:endParaRPr lang="ru-RU" sz="18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93ECFE-04A4-6069-93BD-01CC008FC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ыводы</a:t>
            </a:r>
          </a:p>
        </p:txBody>
      </p:sp>
    </p:spTree>
    <p:extLst>
      <p:ext uri="{BB962C8B-B14F-4D97-AF65-F5344CB8AC3E}">
        <p14:creationId xmlns:p14="http://schemas.microsoft.com/office/powerpoint/2010/main" val="3551177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C93ECFE-04A4-6069-93BD-01CC008FC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трет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1A69DF92-0297-F6E9-8F79-2E4106D57B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0304683"/>
              </p:ext>
            </p:extLst>
          </p:nvPr>
        </p:nvGraphicFramePr>
        <p:xfrm>
          <a:off x="1118153" y="1161956"/>
          <a:ext cx="9772680" cy="433935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327338">
                  <a:extLst>
                    <a:ext uri="{9D8B030D-6E8A-4147-A177-3AD203B41FA5}">
                      <a16:colId xmlns:a16="http://schemas.microsoft.com/office/drawing/2014/main" val="2565797807"/>
                    </a:ext>
                  </a:extLst>
                </a:gridCol>
                <a:gridCol w="3222671">
                  <a:extLst>
                    <a:ext uri="{9D8B030D-6E8A-4147-A177-3AD203B41FA5}">
                      <a16:colId xmlns:a16="http://schemas.microsoft.com/office/drawing/2014/main" val="1157366506"/>
                    </a:ext>
                  </a:extLst>
                </a:gridCol>
                <a:gridCol w="3222671">
                  <a:extLst>
                    <a:ext uri="{9D8B030D-6E8A-4147-A177-3AD203B41FA5}">
                      <a16:colId xmlns:a16="http://schemas.microsoft.com/office/drawing/2014/main" val="3686568068"/>
                    </a:ext>
                  </a:extLst>
                </a:gridCol>
              </a:tblGrid>
              <a:tr h="4821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изнак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Успешный абитуриент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успешный абитуриент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1534219706"/>
                  </a:ext>
                </a:extLst>
              </a:tr>
              <a:tr h="482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езультат начальной попытки в тесте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%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%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1584484616"/>
                  </a:ext>
                </a:extLst>
              </a:tr>
              <a:tr h="482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инальный результат в тесте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%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%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3523297277"/>
                  </a:ext>
                </a:extLst>
              </a:tr>
              <a:tr h="482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л-во тренировок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5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1532795396"/>
                  </a:ext>
                </a:extLst>
              </a:tr>
              <a:tr h="482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ешенные ОЗ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555904672"/>
                  </a:ext>
                </a:extLst>
              </a:tr>
              <a:tr h="482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ругозор ОЗ (кол-во предметов)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4198152396"/>
                  </a:ext>
                </a:extLst>
              </a:tr>
              <a:tr h="482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езультат ОЗ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%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%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1984321539"/>
                  </a:ext>
                </a:extLst>
              </a:tr>
              <a:tr h="482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урсы 50%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1643862674"/>
                  </a:ext>
                </a:extLst>
              </a:tr>
              <a:tr h="482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деля логина в тек. году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:a16="http://schemas.microsoft.com/office/drawing/2014/main" val="20740571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9035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>
            <a:extLst>
              <a:ext uri="{FF2B5EF4-FFF2-40B4-BE49-F238E27FC236}">
                <a16:creationId xmlns:a16="http://schemas.microsoft.com/office/drawing/2014/main" id="{0477906B-CFDD-288B-BC69-0BEA56B31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ы</a:t>
            </a:r>
            <a:r>
              <a:rPr lang="en-US" dirty="0"/>
              <a:t>: </a:t>
            </a:r>
            <a:r>
              <a:rPr lang="ru-RU" dirty="0"/>
              <a:t>начальные попытки</a:t>
            </a:r>
            <a:r>
              <a:rPr lang="en-US" dirty="0"/>
              <a:t> </a:t>
            </a:r>
            <a:endParaRPr lang="ru-RU" dirty="0"/>
          </a:p>
        </p:txBody>
      </p:sp>
      <p:pic>
        <p:nvPicPr>
          <p:cNvPr id="32" name="Content Placeholder 31">
            <a:extLst>
              <a:ext uri="{FF2B5EF4-FFF2-40B4-BE49-F238E27FC236}">
                <a16:creationId xmlns:a16="http://schemas.microsoft.com/office/drawing/2014/main" id="{D4BE596F-5ECC-8354-400D-0FD2F343B29C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073746" y="881063"/>
            <a:ext cx="10185796" cy="4143375"/>
          </a:xfrm>
        </p:spPr>
      </p:pic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7B8E516-F8C5-BED0-B4B0-D7370C35E4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Во всех классах видим существенную разницу в пользу успешных абитуриентов.</a:t>
            </a:r>
          </a:p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Разница медиан по классам не меньше 16%.</a:t>
            </a:r>
          </a:p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Результаты во всех группах лучше в 6-м классе.</a:t>
            </a:r>
          </a:p>
          <a:p>
            <a:endParaRPr lang="ru-RU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33" name="Date Placeholder 32">
            <a:extLst>
              <a:ext uri="{FF2B5EF4-FFF2-40B4-BE49-F238E27FC236}">
                <a16:creationId xmlns:a16="http://schemas.microsoft.com/office/drawing/2014/main" id="{44131950-B4D3-CD94-E249-F8DE800EC1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F10710-810C-4E5C-B9AF-D0AF4F5B8E63}" type="datetime1">
              <a:rPr lang="ru-RU" smtClean="0"/>
              <a:t>21.07.20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57572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>
            <a:extLst>
              <a:ext uri="{FF2B5EF4-FFF2-40B4-BE49-F238E27FC236}">
                <a16:creationId xmlns:a16="http://schemas.microsoft.com/office/drawing/2014/main" id="{0477906B-CFDD-288B-BC69-0BEA56B31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ы</a:t>
            </a:r>
            <a:r>
              <a:rPr lang="en-US" dirty="0"/>
              <a:t>: </a:t>
            </a:r>
            <a:r>
              <a:rPr lang="ru-RU" dirty="0"/>
              <a:t>кол-во тренировок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7B8E516-F8C5-BED0-B4B0-D7370C35E4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В целом успешные абитуриенты </a:t>
            </a:r>
            <a:r>
              <a:rPr lang="ru-RU" b="1" dirty="0">
                <a:solidFill>
                  <a:schemeClr val="bg2"/>
                </a:solidFill>
                <a:effectLst/>
                <a:latin typeface="+mn-lt"/>
              </a:rPr>
              <a:t>тренируются больше</a:t>
            </a:r>
            <a:r>
              <a:rPr lang="ru-RU" dirty="0">
                <a:solidFill>
                  <a:schemeClr val="bg2"/>
                </a:solidFill>
                <a:effectLst/>
                <a:latin typeface="+mn-lt"/>
              </a:rPr>
              <a:t>,</a:t>
            </a:r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 чем неуспешные.</a:t>
            </a:r>
          </a:p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В 8м классе ощутимо меньше, чем в 6 и 7.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4356603-023E-26AA-BA50-A39C4F0E5920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073746" y="881063"/>
            <a:ext cx="10185796" cy="4143375"/>
          </a:xfr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4530EB5-1954-8D69-3766-94DAE83A40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0940E-06E2-4C43-91B6-EE8AD4F51A6B}" type="datetime1">
              <a:rPr lang="ru-RU" smtClean="0"/>
              <a:t>21.07.20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87639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>
            <a:extLst>
              <a:ext uri="{FF2B5EF4-FFF2-40B4-BE49-F238E27FC236}">
                <a16:creationId xmlns:a16="http://schemas.microsoft.com/office/drawing/2014/main" id="{0477906B-CFDD-288B-BC69-0BEA56B31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ы</a:t>
            </a:r>
            <a:r>
              <a:rPr lang="en-US" dirty="0"/>
              <a:t>: </a:t>
            </a:r>
            <a:r>
              <a:rPr lang="ru-RU" dirty="0"/>
              <a:t>тренировки до 80%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7B8E516-F8C5-BED0-B4B0-D7370C35E4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В 6 и 7 классе медианы среднего кол-ва тренировок до успеха в тесте ниже у успешных абитуриентов. В 8 классе они совпадают.</a:t>
            </a:r>
          </a:p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В целом можно отметить меньший разброс и меньшие квартили для успешных</a:t>
            </a:r>
          </a:p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Медианы в целом равны 1 тренировке.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9FDAB2-3117-096B-241A-44A6F4310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6B9813-9F86-4BF5-8A9A-638243BAD6AD}" type="datetime1">
              <a:rPr lang="ru-RU" smtClean="0"/>
              <a:t>21.07.2023</a:t>
            </a:fld>
            <a:endParaRPr lang="ru-RU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1537E91-D1B4-50A8-890E-34FD70182E48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073746" y="881063"/>
            <a:ext cx="10185796" cy="4143375"/>
          </a:xfrm>
        </p:spPr>
      </p:pic>
    </p:spTree>
    <p:extLst>
      <p:ext uri="{BB962C8B-B14F-4D97-AF65-F5344CB8AC3E}">
        <p14:creationId xmlns:p14="http://schemas.microsoft.com/office/powerpoint/2010/main" val="36583558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>
            <a:extLst>
              <a:ext uri="{FF2B5EF4-FFF2-40B4-BE49-F238E27FC236}">
                <a16:creationId xmlns:a16="http://schemas.microsoft.com/office/drawing/2014/main" id="{0477906B-CFDD-288B-BC69-0BEA56B31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ы</a:t>
            </a:r>
            <a:r>
              <a:rPr lang="en-US" dirty="0"/>
              <a:t>: </a:t>
            </a:r>
            <a:r>
              <a:rPr lang="ru-RU" dirty="0"/>
              <a:t>финальные результаты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7B8E516-F8C5-BED0-B4B0-D7370C35E4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Видим ту же сильную разницу, что и для начальных попыток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255206C-A90C-5BBA-2122-CD06420BCFF5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073746" y="881063"/>
            <a:ext cx="10185796" cy="4143375"/>
          </a:xfr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851306-4E8F-9FE7-F8EB-CCEC723FD7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FAF480-3AE8-499F-B42A-10224976F2CC}" type="datetime1">
              <a:rPr lang="ru-RU" smtClean="0"/>
              <a:t>21.07.20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7908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>
            <a:extLst>
              <a:ext uri="{FF2B5EF4-FFF2-40B4-BE49-F238E27FC236}">
                <a16:creationId xmlns:a16="http://schemas.microsoft.com/office/drawing/2014/main" id="{0477906B-CFDD-288B-BC69-0BEA56B31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ы</a:t>
            </a:r>
            <a:r>
              <a:rPr lang="en-US" dirty="0"/>
              <a:t>: </a:t>
            </a:r>
            <a:r>
              <a:rPr lang="ru-RU" dirty="0"/>
              <a:t>финальные результаты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7B8E516-F8C5-BED0-B4B0-D7370C35E4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b="0" dirty="0">
                <a:solidFill>
                  <a:schemeClr val="bg2"/>
                </a:solidFill>
                <a:effectLst/>
                <a:latin typeface="+mn-lt"/>
              </a:rPr>
              <a:t>Видим ту же сильную разницу, что и для начальных попыток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255206C-A90C-5BBA-2122-CD06420BCFF5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073746" y="881063"/>
            <a:ext cx="10185796" cy="4143375"/>
          </a:xfr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63EA5C0-4DEE-4217-9577-E3CA7B58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35D74A-80E5-4D98-B92A-67A5725251E9}" type="datetime1">
              <a:rPr lang="ru-RU" smtClean="0"/>
              <a:t>21.07.20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30843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tovo Slide Master">
  <a:themeElements>
    <a:clrScheme name="Letovo">
      <a:dk1>
        <a:srgbClr val="0D3174"/>
      </a:dk1>
      <a:lt1>
        <a:srgbClr val="FFFFFF"/>
      </a:lt1>
      <a:dk2>
        <a:srgbClr val="000000"/>
      </a:dk2>
      <a:lt2>
        <a:srgbClr val="B2B2B2"/>
      </a:lt2>
      <a:accent1>
        <a:srgbClr val="00ADB9"/>
      </a:accent1>
      <a:accent2>
        <a:srgbClr val="FDC300"/>
      </a:accent2>
      <a:accent3>
        <a:srgbClr val="00818A"/>
      </a:accent3>
      <a:accent4>
        <a:srgbClr val="858585"/>
      </a:accent4>
      <a:accent5>
        <a:srgbClr val="A1003E"/>
      </a:accent5>
      <a:accent6>
        <a:srgbClr val="E10056"/>
      </a:accent6>
      <a:hlink>
        <a:srgbClr val="0000FF"/>
      </a:hlink>
      <a:folHlink>
        <a:srgbClr val="FF00FF"/>
      </a:folHlink>
    </a:clrScheme>
    <a:fontScheme name="LETOVO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5</TotalTime>
  <Words>605</Words>
  <Application>Microsoft Office PowerPoint</Application>
  <PresentationFormat>Widescreen</PresentationFormat>
  <Paragraphs>109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rial</vt:lpstr>
      <vt:lpstr>Calibri</vt:lpstr>
      <vt:lpstr>Courier New</vt:lpstr>
      <vt:lpstr>Segoe UI</vt:lpstr>
      <vt:lpstr>Segoe UI Light</vt:lpstr>
      <vt:lpstr>Segoe UI Semibold</vt:lpstr>
      <vt:lpstr>Segoe UI Semilight</vt:lpstr>
      <vt:lpstr>Wide Latin</vt:lpstr>
      <vt:lpstr>Wingdings</vt:lpstr>
      <vt:lpstr>Wingdings 2</vt:lpstr>
      <vt:lpstr>Letovo Slide Master</vt:lpstr>
      <vt:lpstr>Слайд think-cell</vt:lpstr>
      <vt:lpstr>Портрет успешного абитуриента. 2022-2023 учебный год.</vt:lpstr>
      <vt:lpstr>Постановка задачи</vt:lpstr>
      <vt:lpstr>Выводы</vt:lpstr>
      <vt:lpstr>Портрет</vt:lpstr>
      <vt:lpstr>Тесты: начальные попытки </vt:lpstr>
      <vt:lpstr>Тесты: кол-во тренировок</vt:lpstr>
      <vt:lpstr>Тесты: тренировки до 80%</vt:lpstr>
      <vt:lpstr>Тесты: финальные результаты</vt:lpstr>
      <vt:lpstr>Тесты: финальные результаты</vt:lpstr>
      <vt:lpstr>ОЗ: кол-во решенных</vt:lpstr>
      <vt:lpstr>ОЗ: кругозор</vt:lpstr>
      <vt:lpstr>ОЗ: результат, %</vt:lpstr>
      <vt:lpstr>Курсы: кол-во начатых</vt:lpstr>
      <vt:lpstr>Курсы: кол-во выполненных на половину</vt:lpstr>
      <vt:lpstr>Время: номер недели первого логина в тек. уч. году</vt:lpstr>
      <vt:lpstr>Время: год первого логина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Евгений Пунинский</dc:creator>
  <cp:lastModifiedBy>Евгений Пунинский</cp:lastModifiedBy>
  <cp:revision>35</cp:revision>
  <dcterms:created xsi:type="dcterms:W3CDTF">2023-06-02T08:16:36Z</dcterms:created>
  <dcterms:modified xsi:type="dcterms:W3CDTF">2023-07-21T12:54:19Z</dcterms:modified>
</cp:coreProperties>
</file>